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832" r:id="rId5"/>
    <p:sldId id="833" r:id="rId6"/>
  </p:sldIdLst>
  <p:sldSz cx="10287000" cy="10287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culino" id="{AB6416A1-1A39-6943-90E8-D99E149BDCD6}">
          <p14:sldIdLst>
            <p14:sldId id="832"/>
          </p14:sldIdLst>
        </p14:section>
        <p14:section name="Femenino" id="{D52ECA20-6EB3-4AE5-A40D-07C0C3237C40}">
          <p14:sldIdLst>
            <p14:sldId id="833"/>
          </p14:sldIdLst>
        </p14:section>
      </p14:sectionLst>
    </p:ext>
    <p:ext uri="{EFAFB233-063F-42B5-8137-9DF3F51BA10A}">
      <p15:sldGuideLst xmlns:p15="http://schemas.microsoft.com/office/powerpoint/2012/main">
        <p15:guide id="2" pos="3240" userDrawn="1">
          <p15:clr>
            <a:srgbClr val="A4A3A4"/>
          </p15:clr>
        </p15:guide>
        <p15:guide id="3" orient="horz" pos="3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CFD5"/>
    <a:srgbClr val="002366"/>
    <a:srgbClr val="191919"/>
    <a:srgbClr val="C1F50E"/>
    <a:srgbClr val="0D64EF"/>
    <a:srgbClr val="0744AB"/>
    <a:srgbClr val="0A3E97"/>
    <a:srgbClr val="F3F3F3"/>
    <a:srgbClr val="0D1203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449" autoAdjust="0"/>
  </p:normalViewPr>
  <p:slideViewPr>
    <p:cSldViewPr snapToGrid="0" snapToObjects="1">
      <p:cViewPr varScale="1">
        <p:scale>
          <a:sx n="95" d="100"/>
          <a:sy n="95" d="100"/>
        </p:scale>
        <p:origin x="5796" y="78"/>
      </p:cViewPr>
      <p:guideLst>
        <p:guide pos="3240"/>
        <p:guide orient="horz" pos="3240"/>
      </p:guideLst>
    </p:cSldViewPr>
  </p:slideViewPr>
  <p:outlineViewPr>
    <p:cViewPr>
      <p:scale>
        <a:sx n="33" d="100"/>
        <a:sy n="33" d="100"/>
      </p:scale>
      <p:origin x="0" y="-1167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303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6/29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HEADER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6/2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85950" y="1143000"/>
            <a:ext cx="3086100" cy="30861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MO USAR ESTA PLANTILLA: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ta tu diapositiva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Reemplaza el texto y las imágenes de ejemplo con tu propio contenid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Asegúrate de que todo se vea bien y quede dentro del diseñ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 a Archivo → Guardar com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Elige dónde quieres guardar tu archivo</a:t>
            </a:r>
          </a:p>
          <a:p>
            <a:pPr marL="228600" lvl="0" indent="-228600">
              <a:buFont typeface="+mj-lt"/>
              <a:buAutoNum type="arabicPeriod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bia el tipo de archivo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En el menú desplegable "Guardar como tipo", selecciona: Formato de intercambio de archivos JPEG (*.jpg)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z clic en Guardar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PowerPoint te preguntará: "¿Todas las diapositivas?" o "¿Solo esta?“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Elige Solo esta</a:t>
            </a:r>
          </a:p>
          <a:p>
            <a:pPr marL="228600" lvl="0" indent="-228600">
              <a:buFont typeface="+mj-lt"/>
              <a:buAutoNum type="arabicPeriod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¡Listo!</a:t>
            </a:r>
            <a:b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s-MX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MX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Tu archivo JPG se guardará en la carpeta que elegiste, listo para compartir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F8D6C0F-465A-80DD-6D01-E74EC399B8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88277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DE46E7-94A2-F8BC-ADB4-CE513E6A53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A32CF8-C83F-B899-F79B-1930F1BA5F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885950" y="1143000"/>
            <a:ext cx="3086100" cy="30861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ADB809-2581-6ABC-D920-A49D18E1E9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ENT UTILISER CE MODÈLE 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) Modifiez votre diapositive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Remplacez le texte et les images par défaut par votre propre contenu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Vérifiez que tout s’affiche correctement et s’intègre bien dans la mise en page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) Allez dans Fichier → Enregistrer sous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Choisissez l’emplacement où vous souhaitez enregistrer votre fichier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) Modifiez le type de fichier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Dans le menu déroulant « Type de fichier », sélectionnez : Format JPEG (*.jpg)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) Cliquez sur Enregistrer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 PowerPoint vous demandera quelles diapositives vous voulez enregistrer, </a:t>
            </a:r>
            <a:r>
              <a:rPr lang="fr-CA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utes les diapositives</a:t>
            </a: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u </a:t>
            </a:r>
            <a:r>
              <a:rPr lang="fr-CA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e-ci uniquement</a:t>
            </a: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 Sélectionnez </a:t>
            </a:r>
            <a:r>
              <a:rPr lang="fr-CA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e-ci uniquement</a:t>
            </a: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) C’est fait!</a:t>
            </a:r>
            <a:b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– Votre fichier JPEG sera enregistré dans le dossier sélectionné, prêt à être partagé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571726-CB8A-4E38-BD70-F29FD2A553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2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7C0E139D-BB68-76A3-401B-B2F46B22F7C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HEADER CONTENT</a:t>
            </a:r>
          </a:p>
        </p:txBody>
      </p:sp>
    </p:spTree>
    <p:extLst>
      <p:ext uri="{BB962C8B-B14F-4D97-AF65-F5344CB8AC3E}">
        <p14:creationId xmlns:p14="http://schemas.microsoft.com/office/powerpoint/2010/main" val="2036970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4.jpg"/><Relationship Id="rId7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svg"/><Relationship Id="rId5" Type="http://schemas.openxmlformats.org/officeDocument/2006/relationships/image" Target="../media/image6.svg"/><Relationship Id="rId10" Type="http://schemas.openxmlformats.org/officeDocument/2006/relationships/image" Target="../media/image9.svg"/><Relationship Id="rId4" Type="http://schemas.openxmlformats.org/officeDocument/2006/relationships/image" Target="../media/image5.jpg"/><Relationship Id="rId9" Type="http://schemas.openxmlformats.org/officeDocument/2006/relationships/image" Target="../media/image8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4.jpg"/><Relationship Id="rId7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svg"/><Relationship Id="rId5" Type="http://schemas.openxmlformats.org/officeDocument/2006/relationships/image" Target="../media/image6.svg"/><Relationship Id="rId10" Type="http://schemas.openxmlformats.org/officeDocument/2006/relationships/image" Target="../media/image9.svg"/><Relationship Id="rId4" Type="http://schemas.openxmlformats.org/officeDocument/2006/relationships/image" Target="../media/image5.jpg"/><Relationship Id="rId9" Type="http://schemas.openxmlformats.org/officeDocument/2006/relationships/image" Target="../media/image8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culi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2E0DEF8-9D0C-BA68-27B9-2B2AC3BE1BB1}"/>
              </a:ext>
            </a:extLst>
          </p:cNvPr>
          <p:cNvSpPr>
            <a:spLocks/>
          </p:cNvSpPr>
          <p:nvPr userDrawn="1"/>
        </p:nvSpPr>
        <p:spPr>
          <a:xfrm rot="5400000">
            <a:off x="-2557258" y="5084715"/>
            <a:ext cx="10287000" cy="11756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0" dist="38100" algn="l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5DD7B3-5227-F68A-7751-2EDAF842AE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0287000" cy="10287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8A562A-97E3-4310-2562-7F81DC127D6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47" r="447"/>
          <a:stretch/>
        </p:blipFill>
        <p:spPr>
          <a:xfrm>
            <a:off x="-14828" y="-2"/>
            <a:ext cx="2548768" cy="10287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4C7793C-2D06-47E5-17F4-8966EA170D20}"/>
              </a:ext>
            </a:extLst>
          </p:cNvPr>
          <p:cNvGrpSpPr/>
          <p:nvPr userDrawn="1"/>
        </p:nvGrpSpPr>
        <p:grpSpPr>
          <a:xfrm>
            <a:off x="2051769" y="-2"/>
            <a:ext cx="1068946" cy="10287000"/>
            <a:chOff x="2051769" y="-2"/>
            <a:chExt cx="1068946" cy="10287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1BE68E6-844F-0CCE-E658-9D90C94085E2}"/>
                </a:ext>
              </a:extLst>
            </p:cNvPr>
            <p:cNvSpPr>
              <a:spLocks/>
            </p:cNvSpPr>
            <p:nvPr userDrawn="1"/>
          </p:nvSpPr>
          <p:spPr>
            <a:xfrm rot="5400000">
              <a:off x="-2557258" y="5084715"/>
              <a:ext cx="10287000" cy="11756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0" dist="38100" algn="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582B96B-3100-EAF7-2C5B-337D991A1D42}"/>
                </a:ext>
              </a:extLst>
            </p:cNvPr>
            <p:cNvGrpSpPr/>
            <p:nvPr userDrawn="1"/>
          </p:nvGrpSpPr>
          <p:grpSpPr>
            <a:xfrm>
              <a:off x="2051769" y="1103520"/>
              <a:ext cx="1068946" cy="1068946"/>
              <a:chOff x="2051769" y="1103520"/>
              <a:chExt cx="1068946" cy="1068946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A1CA8731-B011-E7D8-BF28-A35AF339D1E6}"/>
                  </a:ext>
                </a:extLst>
              </p:cNvPr>
              <p:cNvSpPr/>
              <p:nvPr userDrawn="1"/>
            </p:nvSpPr>
            <p:spPr>
              <a:xfrm>
                <a:off x="2051769" y="1103520"/>
                <a:ext cx="1068946" cy="106894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73" name="Graphic 72">
                <a:extLst>
                  <a:ext uri="{FF2B5EF4-FFF2-40B4-BE49-F238E27FC236}">
                    <a16:creationId xmlns:a16="http://schemas.microsoft.com/office/drawing/2014/main" id="{B54E06E6-DAE7-08A7-0ADF-026B3B0F8FC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300346" y="1263088"/>
                <a:ext cx="571792" cy="803599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BFC92A0-E8C9-0A52-91F9-32ABC5D9486C}"/>
                </a:ext>
              </a:extLst>
            </p:cNvPr>
            <p:cNvGrpSpPr/>
            <p:nvPr userDrawn="1"/>
          </p:nvGrpSpPr>
          <p:grpSpPr>
            <a:xfrm>
              <a:off x="2051769" y="8109457"/>
              <a:ext cx="1068946" cy="1068946"/>
              <a:chOff x="2051769" y="1103520"/>
              <a:chExt cx="1068946" cy="1068946"/>
            </a:xfrm>
          </p:grpSpPr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85D213B5-2FB4-7F04-14A1-3339FFDAFACD}"/>
                  </a:ext>
                </a:extLst>
              </p:cNvPr>
              <p:cNvSpPr/>
              <p:nvPr userDrawn="1"/>
            </p:nvSpPr>
            <p:spPr>
              <a:xfrm>
                <a:off x="2051769" y="1103520"/>
                <a:ext cx="1068946" cy="106894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63" name="Graphic 62">
                <a:extLst>
                  <a:ext uri="{FF2B5EF4-FFF2-40B4-BE49-F238E27FC236}">
                    <a16:creationId xmlns:a16="http://schemas.microsoft.com/office/drawing/2014/main" id="{4D2EB8D1-8CDE-7048-8A4F-69C5A579097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300346" y="1263088"/>
                <a:ext cx="571792" cy="803599"/>
              </a:xfrm>
              <a:prstGeom prst="rect">
                <a:avLst/>
              </a:prstGeom>
            </p:spPr>
          </p:pic>
        </p:grp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E74AE3EF-FA73-A69D-FDDD-7D873457B3EB}"/>
                </a:ext>
              </a:extLst>
            </p:cNvPr>
            <p:cNvSpPr/>
            <p:nvPr userDrawn="1"/>
          </p:nvSpPr>
          <p:spPr>
            <a:xfrm>
              <a:off x="2397542" y="2450673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B5E9B28-252D-9524-2D1B-83B601A13388}"/>
                </a:ext>
              </a:extLst>
            </p:cNvPr>
            <p:cNvSpPr/>
            <p:nvPr userDrawn="1"/>
          </p:nvSpPr>
          <p:spPr>
            <a:xfrm>
              <a:off x="2397542" y="303960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308941C-42EC-02A2-71C8-7A4D1414259F}"/>
                </a:ext>
              </a:extLst>
            </p:cNvPr>
            <p:cNvSpPr/>
            <p:nvPr userDrawn="1"/>
          </p:nvSpPr>
          <p:spPr>
            <a:xfrm>
              <a:off x="2397542" y="9583847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CF79BC86-3A52-BE16-A59D-9A83A6BCC1EB}"/>
                </a:ext>
              </a:extLst>
            </p:cNvPr>
            <p:cNvSpPr/>
            <p:nvPr userDrawn="1"/>
          </p:nvSpPr>
          <p:spPr>
            <a:xfrm>
              <a:off x="2397542" y="7437134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F006D973-BE6E-87DD-37D9-4C44828DC2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53134" y="953189"/>
            <a:ext cx="4951202" cy="4957465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33CF3649-7D86-B664-7D93-10F10649444B}"/>
              </a:ext>
            </a:extLst>
          </p:cNvPr>
          <p:cNvSpPr/>
          <p:nvPr userDrawn="1"/>
        </p:nvSpPr>
        <p:spPr>
          <a:xfrm>
            <a:off x="574279" y="3131535"/>
            <a:ext cx="4023926" cy="402392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921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7284C79-8DCD-9E21-35F2-C3B6CB41E221}"/>
              </a:ext>
            </a:extLst>
          </p:cNvPr>
          <p:cNvGrpSpPr/>
          <p:nvPr userDrawn="1"/>
        </p:nvGrpSpPr>
        <p:grpSpPr>
          <a:xfrm>
            <a:off x="1972872" y="-2410817"/>
            <a:ext cx="4640646" cy="513313"/>
            <a:chOff x="560168" y="8699501"/>
            <a:chExt cx="7491655" cy="84289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18539B2-9946-7D29-E46F-A06E29869CDB}"/>
                </a:ext>
              </a:extLst>
            </p:cNvPr>
            <p:cNvSpPr/>
            <p:nvPr/>
          </p:nvSpPr>
          <p:spPr>
            <a:xfrm>
              <a:off x="562392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8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249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2683440-136C-CBA5-F42E-AC44B12A424B}"/>
                </a:ext>
              </a:extLst>
            </p:cNvPr>
            <p:cNvSpPr/>
            <p:nvPr/>
          </p:nvSpPr>
          <p:spPr>
            <a:xfrm>
              <a:off x="888116" y="8699501"/>
              <a:ext cx="295079" cy="325229"/>
            </a:xfrm>
            <a:custGeom>
              <a:avLst/>
              <a:gdLst>
                <a:gd name="csX0" fmla="*/ 0 w 295079"/>
                <a:gd name="csY0" fmla="*/ 162368 h 325229"/>
                <a:gd name="csX1" fmla="*/ 147787 w 295079"/>
                <a:gd name="csY1" fmla="*/ 0 h 325229"/>
                <a:gd name="csX2" fmla="*/ 295079 w 295079"/>
                <a:gd name="csY2" fmla="*/ 162368 h 325229"/>
                <a:gd name="csX3" fmla="*/ 147787 w 295079"/>
                <a:gd name="csY3" fmla="*/ 325230 h 325229"/>
                <a:gd name="csX4" fmla="*/ 0 w 295079"/>
                <a:gd name="csY4" fmla="*/ 162368 h 325229"/>
                <a:gd name="csX5" fmla="*/ 69445 w 295079"/>
                <a:gd name="csY5" fmla="*/ 215255 h 325229"/>
                <a:gd name="csX6" fmla="*/ 200179 w 295079"/>
                <a:gd name="csY6" fmla="*/ 71175 h 325229"/>
                <a:gd name="csX7" fmla="*/ 147787 w 295079"/>
                <a:gd name="csY7" fmla="*/ 53381 h 325229"/>
                <a:gd name="csX8" fmla="*/ 61784 w 295079"/>
                <a:gd name="csY8" fmla="*/ 162368 h 325229"/>
                <a:gd name="csX9" fmla="*/ 69445 w 295079"/>
                <a:gd name="csY9" fmla="*/ 215255 h 325229"/>
                <a:gd name="csX10" fmla="*/ 147787 w 295079"/>
                <a:gd name="csY10" fmla="*/ 271354 h 325229"/>
                <a:gd name="csX11" fmla="*/ 232801 w 295079"/>
                <a:gd name="csY11" fmla="*/ 162368 h 325229"/>
                <a:gd name="csX12" fmla="*/ 225140 w 295079"/>
                <a:gd name="csY12" fmla="*/ 109975 h 325229"/>
                <a:gd name="csX13" fmla="*/ 94653 w 295079"/>
                <a:gd name="csY13" fmla="*/ 254055 h 325229"/>
                <a:gd name="csX14" fmla="*/ 147540 w 295079"/>
                <a:gd name="csY14" fmla="*/ 271354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95079" h="325229">
                  <a:moveTo>
                    <a:pt x="0" y="162368"/>
                  </a:moveTo>
                  <a:cubicBezTo>
                    <a:pt x="0" y="66726"/>
                    <a:pt x="53875" y="0"/>
                    <a:pt x="147787" y="0"/>
                  </a:cubicBezTo>
                  <a:cubicBezTo>
                    <a:pt x="241698" y="0"/>
                    <a:pt x="295079" y="66726"/>
                    <a:pt x="295079" y="162368"/>
                  </a:cubicBezTo>
                  <a:cubicBezTo>
                    <a:pt x="295079" y="258009"/>
                    <a:pt x="240710" y="325230"/>
                    <a:pt x="147787" y="325230"/>
                  </a:cubicBezTo>
                  <a:cubicBezTo>
                    <a:pt x="54864" y="325230"/>
                    <a:pt x="0" y="258503"/>
                    <a:pt x="0" y="162368"/>
                  </a:cubicBezTo>
                  <a:close/>
                  <a:moveTo>
                    <a:pt x="69445" y="215255"/>
                  </a:moveTo>
                  <a:lnTo>
                    <a:pt x="200179" y="71175"/>
                  </a:lnTo>
                  <a:cubicBezTo>
                    <a:pt x="186834" y="59560"/>
                    <a:pt x="169040" y="53381"/>
                    <a:pt x="147787" y="53381"/>
                  </a:cubicBezTo>
                  <a:cubicBezTo>
                    <a:pt x="93170" y="53381"/>
                    <a:pt x="61784" y="93417"/>
                    <a:pt x="61784" y="162368"/>
                  </a:cubicBezTo>
                  <a:cubicBezTo>
                    <a:pt x="61784" y="182386"/>
                    <a:pt x="64502" y="200179"/>
                    <a:pt x="69445" y="215255"/>
                  </a:cubicBezTo>
                  <a:close/>
                  <a:moveTo>
                    <a:pt x="147787" y="271354"/>
                  </a:moveTo>
                  <a:cubicBezTo>
                    <a:pt x="202404" y="271354"/>
                    <a:pt x="232801" y="232307"/>
                    <a:pt x="232801" y="162368"/>
                  </a:cubicBezTo>
                  <a:cubicBezTo>
                    <a:pt x="232801" y="142350"/>
                    <a:pt x="230083" y="125050"/>
                    <a:pt x="225140" y="109975"/>
                  </a:cubicBezTo>
                  <a:lnTo>
                    <a:pt x="94653" y="254055"/>
                  </a:lnTo>
                  <a:cubicBezTo>
                    <a:pt x="108492" y="265176"/>
                    <a:pt x="126286" y="271354"/>
                    <a:pt x="147540" y="271354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18E8036-6F15-0AAA-2997-CFFB31BC9C97}"/>
                </a:ext>
              </a:extLst>
            </p:cNvPr>
            <p:cNvSpPr/>
            <p:nvPr/>
          </p:nvSpPr>
          <p:spPr>
            <a:xfrm>
              <a:off x="1243990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7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002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170F306-B98E-C1BC-CBEA-02C91226003D}"/>
                </a:ext>
              </a:extLst>
            </p:cNvPr>
            <p:cNvSpPr/>
            <p:nvPr/>
          </p:nvSpPr>
          <p:spPr>
            <a:xfrm>
              <a:off x="1574163" y="8705432"/>
              <a:ext cx="276791" cy="319545"/>
            </a:xfrm>
            <a:custGeom>
              <a:avLst/>
              <a:gdLst>
                <a:gd name="csX0" fmla="*/ 0 w 276791"/>
                <a:gd name="csY0" fmla="*/ 163603 h 319545"/>
                <a:gd name="csX1" fmla="*/ 154954 w 276791"/>
                <a:gd name="csY1" fmla="*/ 0 h 319545"/>
                <a:gd name="csX2" fmla="*/ 252325 w 276791"/>
                <a:gd name="csY2" fmla="*/ 0 h 319545"/>
                <a:gd name="csX3" fmla="*/ 252325 w 276791"/>
                <a:gd name="csY3" fmla="*/ 53381 h 319545"/>
                <a:gd name="csX4" fmla="*/ 153471 w 276791"/>
                <a:gd name="csY4" fmla="*/ 53381 h 319545"/>
                <a:gd name="csX5" fmla="*/ 56100 w 276791"/>
                <a:gd name="csY5" fmla="*/ 149022 h 319545"/>
                <a:gd name="csX6" fmla="*/ 157425 w 276791"/>
                <a:gd name="csY6" fmla="*/ 94406 h 319545"/>
                <a:gd name="csX7" fmla="*/ 276791 w 276791"/>
                <a:gd name="csY7" fmla="*/ 200674 h 319545"/>
                <a:gd name="csX8" fmla="*/ 143338 w 276791"/>
                <a:gd name="csY8" fmla="*/ 319546 h 319545"/>
                <a:gd name="csX9" fmla="*/ 0 w 276791"/>
                <a:gd name="csY9" fmla="*/ 163851 h 319545"/>
                <a:gd name="csX10" fmla="*/ 140867 w 276791"/>
                <a:gd name="csY10" fmla="*/ 264929 h 319545"/>
                <a:gd name="csX11" fmla="*/ 214761 w 276791"/>
                <a:gd name="csY11" fmla="*/ 203639 h 319545"/>
                <a:gd name="csX12" fmla="*/ 141361 w 276791"/>
                <a:gd name="csY12" fmla="*/ 144080 h 319545"/>
                <a:gd name="csX13" fmla="*/ 61784 w 276791"/>
                <a:gd name="csY13" fmla="*/ 203145 h 319545"/>
                <a:gd name="csX14" fmla="*/ 141114 w 276791"/>
                <a:gd name="csY14" fmla="*/ 264929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76791" h="319545">
                  <a:moveTo>
                    <a:pt x="0" y="163603"/>
                  </a:moveTo>
                  <a:cubicBezTo>
                    <a:pt x="0" y="67962"/>
                    <a:pt x="37812" y="0"/>
                    <a:pt x="154954" y="0"/>
                  </a:cubicBezTo>
                  <a:lnTo>
                    <a:pt x="252325" y="0"/>
                  </a:lnTo>
                  <a:lnTo>
                    <a:pt x="252325" y="53381"/>
                  </a:lnTo>
                  <a:lnTo>
                    <a:pt x="153471" y="53381"/>
                  </a:lnTo>
                  <a:cubicBezTo>
                    <a:pt x="96877" y="53381"/>
                    <a:pt x="64008" y="83285"/>
                    <a:pt x="56100" y="149022"/>
                  </a:cubicBezTo>
                  <a:cubicBezTo>
                    <a:pt x="71669" y="113929"/>
                    <a:pt x="106268" y="94406"/>
                    <a:pt x="157425" y="94406"/>
                  </a:cubicBezTo>
                  <a:cubicBezTo>
                    <a:pt x="230083" y="94406"/>
                    <a:pt x="276791" y="138396"/>
                    <a:pt x="276791" y="200674"/>
                  </a:cubicBezTo>
                  <a:cubicBezTo>
                    <a:pt x="276791" y="273579"/>
                    <a:pt x="225140" y="319546"/>
                    <a:pt x="143338" y="319546"/>
                  </a:cubicBezTo>
                  <a:cubicBezTo>
                    <a:pt x="54864" y="319546"/>
                    <a:pt x="0" y="268389"/>
                    <a:pt x="0" y="163851"/>
                  </a:cubicBezTo>
                  <a:close/>
                  <a:moveTo>
                    <a:pt x="140867" y="264929"/>
                  </a:moveTo>
                  <a:cubicBezTo>
                    <a:pt x="189306" y="264929"/>
                    <a:pt x="214761" y="243181"/>
                    <a:pt x="214761" y="203639"/>
                  </a:cubicBezTo>
                  <a:cubicBezTo>
                    <a:pt x="214761" y="166816"/>
                    <a:pt x="188564" y="144080"/>
                    <a:pt x="141361" y="144080"/>
                  </a:cubicBezTo>
                  <a:cubicBezTo>
                    <a:pt x="90699" y="144080"/>
                    <a:pt x="61784" y="166322"/>
                    <a:pt x="61784" y="203145"/>
                  </a:cubicBezTo>
                  <a:cubicBezTo>
                    <a:pt x="61784" y="239968"/>
                    <a:pt x="87980" y="264929"/>
                    <a:pt x="141114" y="264929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4D96342-C9C1-90A0-3663-ABCF0B66DD9E}"/>
                </a:ext>
              </a:extLst>
            </p:cNvPr>
            <p:cNvSpPr/>
            <p:nvPr/>
          </p:nvSpPr>
          <p:spPr>
            <a:xfrm>
              <a:off x="2059042" y="8705185"/>
              <a:ext cx="270118" cy="313861"/>
            </a:xfrm>
            <a:custGeom>
              <a:avLst/>
              <a:gdLst>
                <a:gd name="csX0" fmla="*/ 269872 w 270118"/>
                <a:gd name="csY0" fmla="*/ 0 h 313861"/>
                <a:gd name="csX1" fmla="*/ 269872 w 270118"/>
                <a:gd name="csY1" fmla="*/ 53875 h 313861"/>
                <a:gd name="csX2" fmla="*/ 165828 w 270118"/>
                <a:gd name="csY2" fmla="*/ 53875 h 313861"/>
                <a:gd name="csX3" fmla="*/ 165828 w 270118"/>
                <a:gd name="csY3" fmla="*/ 313862 h 313861"/>
                <a:gd name="csX4" fmla="*/ 104044 w 270118"/>
                <a:gd name="csY4" fmla="*/ 313862 h 313861"/>
                <a:gd name="csX5" fmla="*/ 104044 w 270118"/>
                <a:gd name="csY5" fmla="*/ 53875 h 313861"/>
                <a:gd name="csX6" fmla="*/ 0 w 270118"/>
                <a:gd name="csY6" fmla="*/ 53875 h 313861"/>
                <a:gd name="csX7" fmla="*/ 0 w 270118"/>
                <a:gd name="csY7" fmla="*/ 0 h 313861"/>
                <a:gd name="csX8" fmla="*/ 270119 w 270118"/>
                <a:gd name="csY8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270118" h="313861">
                  <a:moveTo>
                    <a:pt x="269872" y="0"/>
                  </a:moveTo>
                  <a:lnTo>
                    <a:pt x="269872" y="53875"/>
                  </a:lnTo>
                  <a:lnTo>
                    <a:pt x="165828" y="53875"/>
                  </a:lnTo>
                  <a:lnTo>
                    <a:pt x="165828" y="313862"/>
                  </a:lnTo>
                  <a:lnTo>
                    <a:pt x="104044" y="313862"/>
                  </a:lnTo>
                  <a:lnTo>
                    <a:pt x="104044" y="53875"/>
                  </a:lnTo>
                  <a:lnTo>
                    <a:pt x="0" y="53875"/>
                  </a:lnTo>
                  <a:lnTo>
                    <a:pt x="0" y="0"/>
                  </a:lnTo>
                  <a:lnTo>
                    <a:pt x="270119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49ADAD5-2F2A-9F6C-B8E2-BC268B72BE98}"/>
                </a:ext>
              </a:extLst>
            </p:cNvPr>
            <p:cNvSpPr/>
            <p:nvPr/>
          </p:nvSpPr>
          <p:spPr>
            <a:xfrm>
              <a:off x="2364501" y="8699501"/>
              <a:ext cx="309660" cy="325229"/>
            </a:xfrm>
            <a:custGeom>
              <a:avLst/>
              <a:gdLst>
                <a:gd name="csX0" fmla="*/ 0 w 309660"/>
                <a:gd name="csY0" fmla="*/ 162368 h 325229"/>
                <a:gd name="csX1" fmla="*/ 157919 w 309660"/>
                <a:gd name="csY1" fmla="*/ 0 h 325229"/>
                <a:gd name="csX2" fmla="*/ 309660 w 309660"/>
                <a:gd name="csY2" fmla="*/ 126780 h 325229"/>
                <a:gd name="csX3" fmla="*/ 245899 w 309660"/>
                <a:gd name="csY3" fmla="*/ 126780 h 325229"/>
                <a:gd name="csX4" fmla="*/ 158167 w 309660"/>
                <a:gd name="csY4" fmla="*/ 55605 h 325229"/>
                <a:gd name="csX5" fmla="*/ 63514 w 309660"/>
                <a:gd name="csY5" fmla="*/ 162368 h 325229"/>
                <a:gd name="csX6" fmla="*/ 158167 w 309660"/>
                <a:gd name="csY6" fmla="*/ 269624 h 325229"/>
                <a:gd name="csX7" fmla="*/ 245899 w 309660"/>
                <a:gd name="csY7" fmla="*/ 197955 h 325229"/>
                <a:gd name="csX8" fmla="*/ 309660 w 309660"/>
                <a:gd name="csY8" fmla="*/ 197955 h 325229"/>
                <a:gd name="csX9" fmla="*/ 157919 w 309660"/>
                <a:gd name="csY9" fmla="*/ 325230 h 325229"/>
                <a:gd name="csX10" fmla="*/ 0 w 309660"/>
                <a:gd name="csY10" fmla="*/ 162368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09660" h="325229">
                  <a:moveTo>
                    <a:pt x="0" y="162368"/>
                  </a:moveTo>
                  <a:cubicBezTo>
                    <a:pt x="0" y="70186"/>
                    <a:pt x="59559" y="0"/>
                    <a:pt x="157919" y="0"/>
                  </a:cubicBezTo>
                  <a:cubicBezTo>
                    <a:pt x="243428" y="0"/>
                    <a:pt x="300269" y="48438"/>
                    <a:pt x="309660" y="126780"/>
                  </a:cubicBezTo>
                  <a:lnTo>
                    <a:pt x="245899" y="126780"/>
                  </a:lnTo>
                  <a:cubicBezTo>
                    <a:pt x="239227" y="81802"/>
                    <a:pt x="206852" y="55605"/>
                    <a:pt x="158167" y="55605"/>
                  </a:cubicBezTo>
                  <a:cubicBezTo>
                    <a:pt x="99101" y="55605"/>
                    <a:pt x="63514" y="94653"/>
                    <a:pt x="63514" y="162368"/>
                  </a:cubicBezTo>
                  <a:cubicBezTo>
                    <a:pt x="63514" y="230083"/>
                    <a:pt x="99101" y="269624"/>
                    <a:pt x="158167" y="269624"/>
                  </a:cubicBezTo>
                  <a:cubicBezTo>
                    <a:pt x="206605" y="269624"/>
                    <a:pt x="239227" y="242934"/>
                    <a:pt x="245899" y="197955"/>
                  </a:cubicBezTo>
                  <a:lnTo>
                    <a:pt x="309660" y="197955"/>
                  </a:lnTo>
                  <a:cubicBezTo>
                    <a:pt x="300269" y="276791"/>
                    <a:pt x="243428" y="325230"/>
                    <a:pt x="157919" y="325230"/>
                  </a:cubicBezTo>
                  <a:cubicBezTo>
                    <a:pt x="59559" y="325230"/>
                    <a:pt x="0" y="254796"/>
                    <a:pt x="0" y="162368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3F0474-EFA9-A356-BAB0-B95441A5A50F}"/>
                </a:ext>
              </a:extLst>
            </p:cNvPr>
            <p:cNvSpPr/>
            <p:nvPr/>
          </p:nvSpPr>
          <p:spPr>
            <a:xfrm>
              <a:off x="2846022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5 w 235025"/>
                <a:gd name="csY1" fmla="*/ 0 h 313861"/>
                <a:gd name="csX2" fmla="*/ 235025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5 w 235025"/>
                <a:gd name="csY9" fmla="*/ 259986 h 313861"/>
                <a:gd name="csX10" fmla="*/ 235025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5" y="0"/>
                  </a:lnTo>
                  <a:lnTo>
                    <a:pt x="235025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5" y="259986"/>
                  </a:lnTo>
                  <a:lnTo>
                    <a:pt x="235025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D6F6F19-EBA7-32A9-02EF-8A1316B4AA55}"/>
                </a:ext>
              </a:extLst>
            </p:cNvPr>
            <p:cNvSpPr/>
            <p:nvPr/>
          </p:nvSpPr>
          <p:spPr>
            <a:xfrm>
              <a:off x="3152469" y="8705184"/>
              <a:ext cx="299775" cy="313613"/>
            </a:xfrm>
            <a:custGeom>
              <a:avLst/>
              <a:gdLst>
                <a:gd name="csX0" fmla="*/ 0 w 299774"/>
                <a:gd name="csY0" fmla="*/ 0 h 313614"/>
                <a:gd name="csX1" fmla="*/ 116153 w 299774"/>
                <a:gd name="csY1" fmla="*/ 0 h 313614"/>
                <a:gd name="csX2" fmla="*/ 237991 w 299774"/>
                <a:gd name="csY2" fmla="*/ 293349 h 313614"/>
                <a:gd name="csX3" fmla="*/ 237991 w 299774"/>
                <a:gd name="csY3" fmla="*/ 0 h 313614"/>
                <a:gd name="csX4" fmla="*/ 299775 w 299774"/>
                <a:gd name="csY4" fmla="*/ 0 h 313614"/>
                <a:gd name="csX5" fmla="*/ 299775 w 299774"/>
                <a:gd name="csY5" fmla="*/ 313615 h 313614"/>
                <a:gd name="csX6" fmla="*/ 183621 w 299774"/>
                <a:gd name="csY6" fmla="*/ 313615 h 313614"/>
                <a:gd name="csX7" fmla="*/ 61784 w 299774"/>
                <a:gd name="csY7" fmla="*/ 20265 h 313614"/>
                <a:gd name="csX8" fmla="*/ 61784 w 299774"/>
                <a:gd name="csY8" fmla="*/ 313615 h 313614"/>
                <a:gd name="csX9" fmla="*/ 0 w 299774"/>
                <a:gd name="csY9" fmla="*/ 313615 h 313614"/>
                <a:gd name="csX10" fmla="*/ 0 w 299774"/>
                <a:gd name="csY10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99774" h="313614">
                  <a:moveTo>
                    <a:pt x="0" y="0"/>
                  </a:moveTo>
                  <a:lnTo>
                    <a:pt x="116153" y="0"/>
                  </a:lnTo>
                  <a:lnTo>
                    <a:pt x="237991" y="293349"/>
                  </a:lnTo>
                  <a:lnTo>
                    <a:pt x="237991" y="0"/>
                  </a:lnTo>
                  <a:lnTo>
                    <a:pt x="299775" y="0"/>
                  </a:lnTo>
                  <a:lnTo>
                    <a:pt x="299775" y="313615"/>
                  </a:lnTo>
                  <a:lnTo>
                    <a:pt x="183621" y="313615"/>
                  </a:lnTo>
                  <a:lnTo>
                    <a:pt x="61784" y="20265"/>
                  </a:lnTo>
                  <a:lnTo>
                    <a:pt x="61784" y="313615"/>
                  </a:lnTo>
                  <a:lnTo>
                    <a:pt x="0" y="3136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8338D2D-5D9A-6E6B-E039-176472DA8C8A}"/>
                </a:ext>
              </a:extLst>
            </p:cNvPr>
            <p:cNvSpPr/>
            <p:nvPr/>
          </p:nvSpPr>
          <p:spPr>
            <a:xfrm>
              <a:off x="3531327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6 w 235025"/>
                <a:gd name="csY1" fmla="*/ 0 h 313861"/>
                <a:gd name="csX2" fmla="*/ 235026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6 w 235025"/>
                <a:gd name="csY9" fmla="*/ 259986 h 313861"/>
                <a:gd name="csX10" fmla="*/ 235026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6" y="0"/>
                  </a:lnTo>
                  <a:lnTo>
                    <a:pt x="235026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6" y="259986"/>
                  </a:lnTo>
                  <a:lnTo>
                    <a:pt x="235026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B1433D9-A181-6FF3-F3A0-FB0C9C5D8346}"/>
                </a:ext>
              </a:extLst>
            </p:cNvPr>
            <p:cNvSpPr/>
            <p:nvPr/>
          </p:nvSpPr>
          <p:spPr>
            <a:xfrm>
              <a:off x="3837776" y="8705184"/>
              <a:ext cx="262210" cy="313861"/>
            </a:xfrm>
            <a:custGeom>
              <a:avLst/>
              <a:gdLst>
                <a:gd name="csX0" fmla="*/ 0 w 262210"/>
                <a:gd name="csY0" fmla="*/ 0 h 313861"/>
                <a:gd name="csX1" fmla="*/ 128263 w 262210"/>
                <a:gd name="csY1" fmla="*/ 0 h 313861"/>
                <a:gd name="csX2" fmla="*/ 260480 w 262210"/>
                <a:gd name="csY2" fmla="*/ 84520 h 313861"/>
                <a:gd name="csX3" fmla="*/ 199191 w 262210"/>
                <a:gd name="csY3" fmla="*/ 163851 h 313861"/>
                <a:gd name="csX4" fmla="*/ 216490 w 262210"/>
                <a:gd name="csY4" fmla="*/ 163851 h 313861"/>
                <a:gd name="csX5" fmla="*/ 262210 w 262210"/>
                <a:gd name="csY5" fmla="*/ 208829 h 313861"/>
                <a:gd name="csX6" fmla="*/ 262210 w 262210"/>
                <a:gd name="csY6" fmla="*/ 313862 h 313861"/>
                <a:gd name="csX7" fmla="*/ 200921 w 262210"/>
                <a:gd name="csY7" fmla="*/ 313862 h 313861"/>
                <a:gd name="csX8" fmla="*/ 200921 w 262210"/>
                <a:gd name="csY8" fmla="*/ 198944 h 313861"/>
                <a:gd name="csX9" fmla="*/ 62525 w 262210"/>
                <a:gd name="csY9" fmla="*/ 198944 h 313861"/>
                <a:gd name="csX10" fmla="*/ 62525 w 262210"/>
                <a:gd name="csY10" fmla="*/ 313862 h 313861"/>
                <a:gd name="csX11" fmla="*/ 247 w 262210"/>
                <a:gd name="csY11" fmla="*/ 313862 h 313861"/>
                <a:gd name="csX12" fmla="*/ 247 w 262210"/>
                <a:gd name="csY12" fmla="*/ 0 h 313861"/>
                <a:gd name="csX13" fmla="*/ 128263 w 262210"/>
                <a:gd name="csY13" fmla="*/ 145563 h 313861"/>
                <a:gd name="csX14" fmla="*/ 198450 w 262210"/>
                <a:gd name="csY14" fmla="*/ 99843 h 313861"/>
                <a:gd name="csX15" fmla="*/ 128263 w 262210"/>
                <a:gd name="csY15" fmla="*/ 53875 h 313861"/>
                <a:gd name="csX16" fmla="*/ 62278 w 262210"/>
                <a:gd name="csY16" fmla="*/ 53875 h 313861"/>
                <a:gd name="csX17" fmla="*/ 62278 w 262210"/>
                <a:gd name="csY17" fmla="*/ 145563 h 313861"/>
                <a:gd name="csX18" fmla="*/ 128263 w 262210"/>
                <a:gd name="csY18" fmla="*/ 145563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262210" h="313861">
                  <a:moveTo>
                    <a:pt x="0" y="0"/>
                  </a:moveTo>
                  <a:lnTo>
                    <a:pt x="128263" y="0"/>
                  </a:lnTo>
                  <a:cubicBezTo>
                    <a:pt x="200427" y="0"/>
                    <a:pt x="260480" y="15075"/>
                    <a:pt x="260480" y="84520"/>
                  </a:cubicBezTo>
                  <a:cubicBezTo>
                    <a:pt x="260480" y="133453"/>
                    <a:pt x="232554" y="156189"/>
                    <a:pt x="199191" y="163851"/>
                  </a:cubicBezTo>
                  <a:lnTo>
                    <a:pt x="216490" y="163851"/>
                  </a:lnTo>
                  <a:cubicBezTo>
                    <a:pt x="250842" y="163851"/>
                    <a:pt x="262210" y="185351"/>
                    <a:pt x="262210" y="208829"/>
                  </a:cubicBezTo>
                  <a:lnTo>
                    <a:pt x="262210" y="313862"/>
                  </a:lnTo>
                  <a:lnTo>
                    <a:pt x="200921" y="313862"/>
                  </a:lnTo>
                  <a:lnTo>
                    <a:pt x="200921" y="198944"/>
                  </a:lnTo>
                  <a:lnTo>
                    <a:pt x="62525" y="198944"/>
                  </a:lnTo>
                  <a:lnTo>
                    <a:pt x="62525" y="313862"/>
                  </a:lnTo>
                  <a:lnTo>
                    <a:pt x="247" y="313862"/>
                  </a:lnTo>
                  <a:lnTo>
                    <a:pt x="247" y="0"/>
                  </a:lnTo>
                  <a:close/>
                  <a:moveTo>
                    <a:pt x="128263" y="145563"/>
                  </a:moveTo>
                  <a:cubicBezTo>
                    <a:pt x="171017" y="145563"/>
                    <a:pt x="198450" y="142103"/>
                    <a:pt x="198450" y="99843"/>
                  </a:cubicBezTo>
                  <a:cubicBezTo>
                    <a:pt x="198450" y="57582"/>
                    <a:pt x="170029" y="53875"/>
                    <a:pt x="128263" y="53875"/>
                  </a:cubicBezTo>
                  <a:lnTo>
                    <a:pt x="62278" y="53875"/>
                  </a:lnTo>
                  <a:lnTo>
                    <a:pt x="62278" y="145563"/>
                  </a:lnTo>
                  <a:lnTo>
                    <a:pt x="128263" y="145563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0D434DA-8899-9C78-4573-6D73C59D8803}"/>
                </a:ext>
              </a:extLst>
            </p:cNvPr>
            <p:cNvSpPr/>
            <p:nvPr/>
          </p:nvSpPr>
          <p:spPr>
            <a:xfrm>
              <a:off x="4163995" y="8699501"/>
              <a:ext cx="313861" cy="324735"/>
            </a:xfrm>
            <a:custGeom>
              <a:avLst/>
              <a:gdLst>
                <a:gd name="csX0" fmla="*/ 0 w 313861"/>
                <a:gd name="csY0" fmla="*/ 165086 h 324735"/>
                <a:gd name="csX1" fmla="*/ 155695 w 313861"/>
                <a:gd name="csY1" fmla="*/ 0 h 324735"/>
                <a:gd name="csX2" fmla="*/ 304718 w 313861"/>
                <a:gd name="csY2" fmla="*/ 117883 h 324735"/>
                <a:gd name="csX3" fmla="*/ 241204 w 313861"/>
                <a:gd name="csY3" fmla="*/ 117883 h 324735"/>
                <a:gd name="csX4" fmla="*/ 158908 w 313861"/>
                <a:gd name="csY4" fmla="*/ 53381 h 324735"/>
                <a:gd name="csX5" fmla="*/ 63761 w 313861"/>
                <a:gd name="csY5" fmla="*/ 165086 h 324735"/>
                <a:gd name="csX6" fmla="*/ 160638 w 313861"/>
                <a:gd name="csY6" fmla="*/ 271107 h 324735"/>
                <a:gd name="csX7" fmla="*/ 251089 w 313861"/>
                <a:gd name="csY7" fmla="*/ 193754 h 324735"/>
                <a:gd name="csX8" fmla="*/ 153718 w 313861"/>
                <a:gd name="csY8" fmla="*/ 193754 h 324735"/>
                <a:gd name="csX9" fmla="*/ 153718 w 313861"/>
                <a:gd name="csY9" fmla="*/ 146551 h 324735"/>
                <a:gd name="csX10" fmla="*/ 278274 w 313861"/>
                <a:gd name="csY10" fmla="*/ 146551 h 324735"/>
                <a:gd name="csX11" fmla="*/ 313862 w 313861"/>
                <a:gd name="csY11" fmla="*/ 181150 h 324735"/>
                <a:gd name="csX12" fmla="*/ 313862 w 313861"/>
                <a:gd name="csY12" fmla="*/ 319546 h 324735"/>
                <a:gd name="csX13" fmla="*/ 252078 w 313861"/>
                <a:gd name="csY13" fmla="*/ 319546 h 324735"/>
                <a:gd name="csX14" fmla="*/ 252078 w 313861"/>
                <a:gd name="csY14" fmla="*/ 265670 h 324735"/>
                <a:gd name="csX15" fmla="*/ 146057 w 313861"/>
                <a:gd name="csY15" fmla="*/ 324736 h 324735"/>
                <a:gd name="csX16" fmla="*/ 0 w 313861"/>
                <a:gd name="csY16" fmla="*/ 165086 h 3247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13861" h="324735">
                  <a:moveTo>
                    <a:pt x="0" y="165086"/>
                  </a:moveTo>
                  <a:cubicBezTo>
                    <a:pt x="0" y="64997"/>
                    <a:pt x="59560" y="0"/>
                    <a:pt x="155695" y="0"/>
                  </a:cubicBezTo>
                  <a:cubicBezTo>
                    <a:pt x="235767" y="0"/>
                    <a:pt x="294091" y="46214"/>
                    <a:pt x="304718" y="117883"/>
                  </a:cubicBezTo>
                  <a:lnTo>
                    <a:pt x="241204" y="117883"/>
                  </a:lnTo>
                  <a:cubicBezTo>
                    <a:pt x="235025" y="77848"/>
                    <a:pt x="203392" y="53381"/>
                    <a:pt x="158908" y="53381"/>
                  </a:cubicBezTo>
                  <a:cubicBezTo>
                    <a:pt x="97865" y="53381"/>
                    <a:pt x="63761" y="96877"/>
                    <a:pt x="63761" y="165086"/>
                  </a:cubicBezTo>
                  <a:cubicBezTo>
                    <a:pt x="63761" y="226129"/>
                    <a:pt x="91440" y="271107"/>
                    <a:pt x="160638" y="271107"/>
                  </a:cubicBezTo>
                  <a:cubicBezTo>
                    <a:pt x="217973" y="271107"/>
                    <a:pt x="251089" y="242192"/>
                    <a:pt x="251089" y="193754"/>
                  </a:cubicBezTo>
                  <a:lnTo>
                    <a:pt x="153718" y="193754"/>
                  </a:lnTo>
                  <a:lnTo>
                    <a:pt x="153718" y="146551"/>
                  </a:lnTo>
                  <a:lnTo>
                    <a:pt x="278274" y="146551"/>
                  </a:lnTo>
                  <a:cubicBezTo>
                    <a:pt x="301010" y="146551"/>
                    <a:pt x="313862" y="158661"/>
                    <a:pt x="313862" y="181150"/>
                  </a:cubicBezTo>
                  <a:lnTo>
                    <a:pt x="313862" y="319546"/>
                  </a:lnTo>
                  <a:lnTo>
                    <a:pt x="252078" y="319546"/>
                  </a:lnTo>
                  <a:lnTo>
                    <a:pt x="252078" y="265670"/>
                  </a:lnTo>
                  <a:cubicBezTo>
                    <a:pt x="240462" y="291125"/>
                    <a:pt x="212042" y="324736"/>
                    <a:pt x="146057" y="324736"/>
                  </a:cubicBezTo>
                  <a:cubicBezTo>
                    <a:pt x="51651" y="324736"/>
                    <a:pt x="0" y="258751"/>
                    <a:pt x="0" y="165086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DF4A515-AEDE-7607-6985-7E0A24EC044A}"/>
                </a:ext>
              </a:extLst>
            </p:cNvPr>
            <p:cNvSpPr/>
            <p:nvPr/>
          </p:nvSpPr>
          <p:spPr>
            <a:xfrm>
              <a:off x="4505288" y="8705184"/>
              <a:ext cx="293102" cy="313613"/>
            </a:xfrm>
            <a:custGeom>
              <a:avLst/>
              <a:gdLst>
                <a:gd name="csX0" fmla="*/ 293102 w 293102"/>
                <a:gd name="csY0" fmla="*/ 0 h 313614"/>
                <a:gd name="csX1" fmla="*/ 198697 w 293102"/>
                <a:gd name="csY1" fmla="*/ 187328 h 313614"/>
                <a:gd name="csX2" fmla="*/ 176949 w 293102"/>
                <a:gd name="csY2" fmla="*/ 187328 h 313614"/>
                <a:gd name="csX3" fmla="*/ 176949 w 293102"/>
                <a:gd name="csY3" fmla="*/ 313615 h 313614"/>
                <a:gd name="csX4" fmla="*/ 115165 w 293102"/>
                <a:gd name="csY4" fmla="*/ 313615 h 313614"/>
                <a:gd name="csX5" fmla="*/ 115165 w 293102"/>
                <a:gd name="csY5" fmla="*/ 187328 h 313614"/>
                <a:gd name="csX6" fmla="*/ 93417 w 293102"/>
                <a:gd name="csY6" fmla="*/ 187328 h 313614"/>
                <a:gd name="csX7" fmla="*/ 0 w 293102"/>
                <a:gd name="csY7" fmla="*/ 0 h 313614"/>
                <a:gd name="csX8" fmla="*/ 65738 w 293102"/>
                <a:gd name="csY8" fmla="*/ 0 h 313614"/>
                <a:gd name="csX9" fmla="*/ 146304 w 293102"/>
                <a:gd name="csY9" fmla="*/ 170523 h 313614"/>
                <a:gd name="csX10" fmla="*/ 226870 w 293102"/>
                <a:gd name="csY10" fmla="*/ 0 h 313614"/>
                <a:gd name="csX11" fmla="*/ 293102 w 293102"/>
                <a:gd name="csY11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93102" h="313614">
                  <a:moveTo>
                    <a:pt x="293102" y="0"/>
                  </a:moveTo>
                  <a:lnTo>
                    <a:pt x="198697" y="187328"/>
                  </a:lnTo>
                  <a:lnTo>
                    <a:pt x="176949" y="187328"/>
                  </a:lnTo>
                  <a:lnTo>
                    <a:pt x="176949" y="313615"/>
                  </a:lnTo>
                  <a:lnTo>
                    <a:pt x="115165" y="313615"/>
                  </a:lnTo>
                  <a:lnTo>
                    <a:pt x="115165" y="187328"/>
                  </a:lnTo>
                  <a:lnTo>
                    <a:pt x="93417" y="187328"/>
                  </a:lnTo>
                  <a:lnTo>
                    <a:pt x="0" y="0"/>
                  </a:lnTo>
                  <a:lnTo>
                    <a:pt x="65738" y="0"/>
                  </a:lnTo>
                  <a:lnTo>
                    <a:pt x="146304" y="170523"/>
                  </a:lnTo>
                  <a:lnTo>
                    <a:pt x="226870" y="0"/>
                  </a:lnTo>
                  <a:lnTo>
                    <a:pt x="293102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F2DB8D-D7FA-676F-E5BE-20C4B5C94B7E}"/>
                </a:ext>
              </a:extLst>
            </p:cNvPr>
            <p:cNvSpPr/>
            <p:nvPr/>
          </p:nvSpPr>
          <p:spPr>
            <a:xfrm>
              <a:off x="560168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6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1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6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1" y="125050"/>
                  </a:lnTo>
                  <a:cubicBezTo>
                    <a:pt x="229341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11B40F1-0B55-3E7E-0D9F-42B4934770BD}"/>
                </a:ext>
              </a:extLst>
            </p:cNvPr>
            <p:cNvSpPr/>
            <p:nvPr/>
          </p:nvSpPr>
          <p:spPr>
            <a:xfrm>
              <a:off x="94075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9 w 352414"/>
                <a:gd name="csY4" fmla="*/ 71175 h 361311"/>
                <a:gd name="csX5" fmla="*/ 81555 w 352414"/>
                <a:gd name="csY5" fmla="*/ 180409 h 361311"/>
                <a:gd name="csX6" fmla="*/ 180409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6" y="71175"/>
                    <a:pt x="180409" y="71175"/>
                  </a:cubicBezTo>
                  <a:cubicBezTo>
                    <a:pt x="121096" y="71175"/>
                    <a:pt x="81555" y="108739"/>
                    <a:pt x="81555" y="180409"/>
                  </a:cubicBezTo>
                  <a:cubicBezTo>
                    <a:pt x="81555" y="252078"/>
                    <a:pt x="121096" y="289642"/>
                    <a:pt x="180409" y="289642"/>
                  </a:cubicBezTo>
                  <a:cubicBezTo>
                    <a:pt x="229836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FD9C22-A20D-EF08-6557-565EAD49FEA1}"/>
                </a:ext>
              </a:extLst>
            </p:cNvPr>
            <p:cNvSpPr/>
            <p:nvPr/>
          </p:nvSpPr>
          <p:spPr>
            <a:xfrm>
              <a:off x="13643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4FA3421-915C-38CC-DB34-9EB484C23995}"/>
                </a:ext>
              </a:extLst>
            </p:cNvPr>
            <p:cNvSpPr/>
            <p:nvPr/>
          </p:nvSpPr>
          <p:spPr>
            <a:xfrm>
              <a:off x="1759267" y="9180837"/>
              <a:ext cx="356863" cy="361311"/>
            </a:xfrm>
            <a:custGeom>
              <a:avLst/>
              <a:gdLst>
                <a:gd name="csX0" fmla="*/ 178926 w 356863"/>
                <a:gd name="csY0" fmla="*/ 0 h 361311"/>
                <a:gd name="csX1" fmla="*/ 356863 w 356863"/>
                <a:gd name="csY1" fmla="*/ 180409 h 361311"/>
                <a:gd name="csX2" fmla="*/ 178926 w 356863"/>
                <a:gd name="csY2" fmla="*/ 361312 h 361311"/>
                <a:gd name="csX3" fmla="*/ 0 w 356863"/>
                <a:gd name="csY3" fmla="*/ 180409 h 361311"/>
                <a:gd name="csX4" fmla="*/ 178926 w 356863"/>
                <a:gd name="csY4" fmla="*/ 0 h 361311"/>
                <a:gd name="csX5" fmla="*/ 178926 w 356863"/>
                <a:gd name="csY5" fmla="*/ 289890 h 361311"/>
                <a:gd name="csX6" fmla="*/ 275309 w 356863"/>
                <a:gd name="csY6" fmla="*/ 180656 h 361311"/>
                <a:gd name="csX7" fmla="*/ 178926 w 356863"/>
                <a:gd name="csY7" fmla="*/ 71422 h 361311"/>
                <a:gd name="csX8" fmla="*/ 81555 w 356863"/>
                <a:gd name="csY8" fmla="*/ 180656 h 361311"/>
                <a:gd name="csX9" fmla="*/ 178926 w 356863"/>
                <a:gd name="csY9" fmla="*/ 289890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56863" h="361311">
                  <a:moveTo>
                    <a:pt x="178926" y="0"/>
                  </a:moveTo>
                  <a:cubicBezTo>
                    <a:pt x="289642" y="0"/>
                    <a:pt x="356863" y="78095"/>
                    <a:pt x="356863" y="180409"/>
                  </a:cubicBezTo>
                  <a:cubicBezTo>
                    <a:pt x="356863" y="282723"/>
                    <a:pt x="289642" y="361312"/>
                    <a:pt x="178926" y="361312"/>
                  </a:cubicBezTo>
                  <a:cubicBezTo>
                    <a:pt x="68209" y="361312"/>
                    <a:pt x="0" y="283217"/>
                    <a:pt x="0" y="180409"/>
                  </a:cubicBezTo>
                  <a:cubicBezTo>
                    <a:pt x="0" y="77600"/>
                    <a:pt x="67715" y="0"/>
                    <a:pt x="178926" y="0"/>
                  </a:cubicBezTo>
                  <a:close/>
                  <a:moveTo>
                    <a:pt x="178926" y="289890"/>
                  </a:moveTo>
                  <a:cubicBezTo>
                    <a:pt x="243675" y="289890"/>
                    <a:pt x="275309" y="248371"/>
                    <a:pt x="275309" y="180656"/>
                  </a:cubicBezTo>
                  <a:cubicBezTo>
                    <a:pt x="275309" y="112941"/>
                    <a:pt x="243181" y="71422"/>
                    <a:pt x="178926" y="71422"/>
                  </a:cubicBezTo>
                  <a:cubicBezTo>
                    <a:pt x="114671" y="71422"/>
                    <a:pt x="81555" y="113435"/>
                    <a:pt x="81555" y="180656"/>
                  </a:cubicBezTo>
                  <a:cubicBezTo>
                    <a:pt x="81555" y="247877"/>
                    <a:pt x="114176" y="289890"/>
                    <a:pt x="178926" y="289890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DB4352B-7903-0503-EB5F-348B5427D46B}"/>
                </a:ext>
              </a:extLst>
            </p:cNvPr>
            <p:cNvSpPr/>
            <p:nvPr/>
          </p:nvSpPr>
          <p:spPr>
            <a:xfrm>
              <a:off x="2188788" y="9187510"/>
              <a:ext cx="248617" cy="348460"/>
            </a:xfrm>
            <a:custGeom>
              <a:avLst/>
              <a:gdLst>
                <a:gd name="csX0" fmla="*/ 0 w 248617"/>
                <a:gd name="csY0" fmla="*/ 306448 h 348460"/>
                <a:gd name="csX1" fmla="*/ 0 w 248617"/>
                <a:gd name="csY1" fmla="*/ 0 h 348460"/>
                <a:gd name="csX2" fmla="*/ 79083 w 248617"/>
                <a:gd name="csY2" fmla="*/ 0 h 348460"/>
                <a:gd name="csX3" fmla="*/ 79083 w 248617"/>
                <a:gd name="csY3" fmla="*/ 278768 h 348460"/>
                <a:gd name="csX4" fmla="*/ 248618 w 248617"/>
                <a:gd name="csY4" fmla="*/ 278768 h 348460"/>
                <a:gd name="csX5" fmla="*/ 248618 w 248617"/>
                <a:gd name="csY5" fmla="*/ 348461 h 348460"/>
                <a:gd name="csX6" fmla="*/ 42507 w 248617"/>
                <a:gd name="csY6" fmla="*/ 348461 h 348460"/>
                <a:gd name="csX7" fmla="*/ 0 w 248617"/>
                <a:gd name="csY7" fmla="*/ 306448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48617" h="348460">
                  <a:moveTo>
                    <a:pt x="0" y="306448"/>
                  </a:moveTo>
                  <a:lnTo>
                    <a:pt x="0" y="0"/>
                  </a:lnTo>
                  <a:lnTo>
                    <a:pt x="79083" y="0"/>
                  </a:lnTo>
                  <a:lnTo>
                    <a:pt x="79083" y="278768"/>
                  </a:lnTo>
                  <a:lnTo>
                    <a:pt x="248618" y="278768"/>
                  </a:lnTo>
                  <a:lnTo>
                    <a:pt x="248618" y="348461"/>
                  </a:lnTo>
                  <a:lnTo>
                    <a:pt x="42507" y="348461"/>
                  </a:lnTo>
                  <a:cubicBezTo>
                    <a:pt x="15322" y="348461"/>
                    <a:pt x="0" y="334127"/>
                    <a:pt x="0" y="306448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BD8B2F2-BDCB-2B35-F3A0-3F3C3D4D1C57}"/>
                </a:ext>
              </a:extLst>
            </p:cNvPr>
            <p:cNvSpPr/>
            <p:nvPr/>
          </p:nvSpPr>
          <p:spPr>
            <a:xfrm>
              <a:off x="2485350" y="9187263"/>
              <a:ext cx="370702" cy="348460"/>
            </a:xfrm>
            <a:custGeom>
              <a:avLst/>
              <a:gdLst>
                <a:gd name="csX0" fmla="*/ 113188 w 370702"/>
                <a:gd name="csY0" fmla="*/ 0 h 348460"/>
                <a:gd name="csX1" fmla="*/ 258009 w 370702"/>
                <a:gd name="csY1" fmla="*/ 0 h 348460"/>
                <a:gd name="csX2" fmla="*/ 370703 w 370702"/>
                <a:gd name="csY2" fmla="*/ 348461 h 348460"/>
                <a:gd name="csX3" fmla="*/ 286677 w 370702"/>
                <a:gd name="csY3" fmla="*/ 348461 h 348460"/>
                <a:gd name="csX4" fmla="*/ 251089 w 370702"/>
                <a:gd name="csY4" fmla="*/ 236756 h 348460"/>
                <a:gd name="csX5" fmla="*/ 118131 w 370702"/>
                <a:gd name="csY5" fmla="*/ 236756 h 348460"/>
                <a:gd name="csX6" fmla="*/ 82543 w 370702"/>
                <a:gd name="csY6" fmla="*/ 348461 h 348460"/>
                <a:gd name="csX7" fmla="*/ 0 w 370702"/>
                <a:gd name="csY7" fmla="*/ 348461 h 348460"/>
                <a:gd name="csX8" fmla="*/ 113188 w 370702"/>
                <a:gd name="csY8" fmla="*/ 0 h 348460"/>
                <a:gd name="csX9" fmla="*/ 229341 w 370702"/>
                <a:gd name="csY9" fmla="*/ 167805 h 348460"/>
                <a:gd name="csX10" fmla="*/ 184857 w 370702"/>
                <a:gd name="csY10" fmla="*/ 28915 h 348460"/>
                <a:gd name="csX11" fmla="*/ 140373 w 370702"/>
                <a:gd name="csY11" fmla="*/ 167805 h 348460"/>
                <a:gd name="csX12" fmla="*/ 229341 w 370702"/>
                <a:gd name="csY12" fmla="*/ 167805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70702" h="348460">
                  <a:moveTo>
                    <a:pt x="113188" y="0"/>
                  </a:moveTo>
                  <a:lnTo>
                    <a:pt x="258009" y="0"/>
                  </a:lnTo>
                  <a:lnTo>
                    <a:pt x="370703" y="348461"/>
                  </a:lnTo>
                  <a:lnTo>
                    <a:pt x="286677" y="348461"/>
                  </a:lnTo>
                  <a:lnTo>
                    <a:pt x="251089" y="236756"/>
                  </a:lnTo>
                  <a:lnTo>
                    <a:pt x="118131" y="236756"/>
                  </a:lnTo>
                  <a:lnTo>
                    <a:pt x="82543" y="348461"/>
                  </a:lnTo>
                  <a:lnTo>
                    <a:pt x="0" y="348461"/>
                  </a:lnTo>
                  <a:lnTo>
                    <a:pt x="113188" y="0"/>
                  </a:lnTo>
                  <a:close/>
                  <a:moveTo>
                    <a:pt x="229341" y="167805"/>
                  </a:moveTo>
                  <a:lnTo>
                    <a:pt x="184857" y="28915"/>
                  </a:lnTo>
                  <a:lnTo>
                    <a:pt x="140373" y="167805"/>
                  </a:lnTo>
                  <a:lnTo>
                    <a:pt x="229341" y="167805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9C8FF39-435B-4F41-63BF-6AA84B7272F2}"/>
                </a:ext>
              </a:extLst>
            </p:cNvPr>
            <p:cNvSpPr/>
            <p:nvPr/>
          </p:nvSpPr>
          <p:spPr>
            <a:xfrm>
              <a:off x="2908940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69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0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69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0" y="154459"/>
                    <a:pt x="219950" y="113435"/>
                  </a:cubicBezTo>
                  <a:cubicBezTo>
                    <a:pt x="219950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C1ED4E4-F8A5-A20B-6AD4-BB9391F6ED43}"/>
                </a:ext>
              </a:extLst>
            </p:cNvPr>
            <p:cNvSpPr/>
            <p:nvPr/>
          </p:nvSpPr>
          <p:spPr>
            <a:xfrm>
              <a:off x="3274700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7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2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7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2" y="125050"/>
                  </a:lnTo>
                  <a:cubicBezTo>
                    <a:pt x="229342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179D2E6-BC9D-E24E-C289-6F1126B32F44}"/>
                </a:ext>
              </a:extLst>
            </p:cNvPr>
            <p:cNvSpPr/>
            <p:nvPr/>
          </p:nvSpPr>
          <p:spPr>
            <a:xfrm>
              <a:off x="36676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DA7A61-5F09-ED4C-4C3F-491BEB9B2638}"/>
                </a:ext>
              </a:extLst>
            </p:cNvPr>
            <p:cNvSpPr/>
            <p:nvPr/>
          </p:nvSpPr>
          <p:spPr>
            <a:xfrm>
              <a:off x="407047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C9725B8-D15B-8E24-5F61-D0663FBA3D89}"/>
                </a:ext>
              </a:extLst>
            </p:cNvPr>
            <p:cNvSpPr/>
            <p:nvPr/>
          </p:nvSpPr>
          <p:spPr>
            <a:xfrm>
              <a:off x="438878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9" y="179173"/>
                    <a:pt x="204628" y="167311"/>
                    <a:pt x="204628" y="124309"/>
                  </a:cubicBezTo>
                  <a:cubicBezTo>
                    <a:pt x="204628" y="81307"/>
                    <a:pt x="180409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1042831-6D4A-59C9-668D-5F4777F16B00}"/>
                </a:ext>
              </a:extLst>
            </p:cNvPr>
            <p:cNvSpPr/>
            <p:nvPr/>
          </p:nvSpPr>
          <p:spPr>
            <a:xfrm>
              <a:off x="4905792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70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1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70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1" y="154459"/>
                    <a:pt x="219951" y="113435"/>
                  </a:cubicBezTo>
                  <a:cubicBezTo>
                    <a:pt x="219951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0D4EF28-FB84-399A-80BD-2A880817995F}"/>
                </a:ext>
              </a:extLst>
            </p:cNvPr>
            <p:cNvSpPr/>
            <p:nvPr/>
          </p:nvSpPr>
          <p:spPr>
            <a:xfrm>
              <a:off x="5286874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7C90810-C70B-C363-3812-1558BB65D17F}"/>
                </a:ext>
              </a:extLst>
            </p:cNvPr>
            <p:cNvSpPr/>
            <p:nvPr/>
          </p:nvSpPr>
          <p:spPr>
            <a:xfrm>
              <a:off x="561111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8 w 352414"/>
                <a:gd name="csY4" fmla="*/ 71175 h 361311"/>
                <a:gd name="csX5" fmla="*/ 81554 w 352414"/>
                <a:gd name="csY5" fmla="*/ 180409 h 361311"/>
                <a:gd name="csX6" fmla="*/ 180408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5" y="71175"/>
                    <a:pt x="180408" y="71175"/>
                  </a:cubicBezTo>
                  <a:cubicBezTo>
                    <a:pt x="121096" y="71175"/>
                    <a:pt x="81554" y="108739"/>
                    <a:pt x="81554" y="180409"/>
                  </a:cubicBezTo>
                  <a:cubicBezTo>
                    <a:pt x="81554" y="252078"/>
                    <a:pt x="121096" y="289642"/>
                    <a:pt x="180408" y="289642"/>
                  </a:cubicBezTo>
                  <a:cubicBezTo>
                    <a:pt x="229835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48B78A0-7C81-FAE7-5ADD-3F7AC7E9898C}"/>
                </a:ext>
              </a:extLst>
            </p:cNvPr>
            <p:cNvSpPr/>
            <p:nvPr/>
          </p:nvSpPr>
          <p:spPr>
            <a:xfrm>
              <a:off x="601493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6 w 237249"/>
                <a:gd name="csY2" fmla="*/ 69198 h 348460"/>
                <a:gd name="csX3" fmla="*/ 158166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3 w 237249"/>
                <a:gd name="csY8" fmla="*/ 278768 h 348460"/>
                <a:gd name="csX9" fmla="*/ 79083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6" y="69198"/>
                  </a:lnTo>
                  <a:lnTo>
                    <a:pt x="158166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3" y="278768"/>
                  </a:lnTo>
                  <a:lnTo>
                    <a:pt x="79083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4ADBF28-397B-D525-E993-147BA6A2FE9B}"/>
                </a:ext>
              </a:extLst>
            </p:cNvPr>
            <p:cNvSpPr/>
            <p:nvPr/>
          </p:nvSpPr>
          <p:spPr>
            <a:xfrm>
              <a:off x="633324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8" y="179173"/>
                    <a:pt x="204628" y="167311"/>
                    <a:pt x="204628" y="124309"/>
                  </a:cubicBezTo>
                  <a:cubicBezTo>
                    <a:pt x="204628" y="81307"/>
                    <a:pt x="180408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433150E-0F6F-B05A-010F-DDDD74DE5C78}"/>
                </a:ext>
              </a:extLst>
            </p:cNvPr>
            <p:cNvSpPr/>
            <p:nvPr/>
          </p:nvSpPr>
          <p:spPr>
            <a:xfrm>
              <a:off x="6667371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D88D54D-FD6B-D686-81C7-E1344F93406F}"/>
                </a:ext>
              </a:extLst>
            </p:cNvPr>
            <p:cNvSpPr/>
            <p:nvPr/>
          </p:nvSpPr>
          <p:spPr>
            <a:xfrm>
              <a:off x="6985681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B7C9222-89C9-92EB-1CA9-4C7C670C0C41}"/>
                </a:ext>
              </a:extLst>
            </p:cNvPr>
            <p:cNvSpPr/>
            <p:nvPr/>
          </p:nvSpPr>
          <p:spPr>
            <a:xfrm>
              <a:off x="7332165" y="9187263"/>
              <a:ext cx="345001" cy="348460"/>
            </a:xfrm>
            <a:custGeom>
              <a:avLst/>
              <a:gdLst>
                <a:gd name="csX0" fmla="*/ 0 w 345001"/>
                <a:gd name="csY0" fmla="*/ 0 h 348460"/>
                <a:gd name="csX1" fmla="*/ 149270 w 345001"/>
                <a:gd name="csY1" fmla="*/ 0 h 348460"/>
                <a:gd name="csX2" fmla="*/ 265918 w 345001"/>
                <a:gd name="csY2" fmla="*/ 322759 h 348460"/>
                <a:gd name="csX3" fmla="*/ 265918 w 345001"/>
                <a:gd name="csY3" fmla="*/ 0 h 348460"/>
                <a:gd name="csX4" fmla="*/ 345001 w 345001"/>
                <a:gd name="csY4" fmla="*/ 0 h 348460"/>
                <a:gd name="csX5" fmla="*/ 345001 w 345001"/>
                <a:gd name="csY5" fmla="*/ 348461 h 348460"/>
                <a:gd name="csX6" fmla="*/ 195731 w 345001"/>
                <a:gd name="csY6" fmla="*/ 348461 h 348460"/>
                <a:gd name="csX7" fmla="*/ 79084 w 345001"/>
                <a:gd name="csY7" fmla="*/ 25702 h 348460"/>
                <a:gd name="csX8" fmla="*/ 79084 w 345001"/>
                <a:gd name="csY8" fmla="*/ 348461 h 348460"/>
                <a:gd name="csX9" fmla="*/ 0 w 345001"/>
                <a:gd name="csY9" fmla="*/ 348461 h 348460"/>
                <a:gd name="csX10" fmla="*/ 0 w 345001"/>
                <a:gd name="csY10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45001" h="348460">
                  <a:moveTo>
                    <a:pt x="0" y="0"/>
                  </a:moveTo>
                  <a:lnTo>
                    <a:pt x="149270" y="0"/>
                  </a:lnTo>
                  <a:lnTo>
                    <a:pt x="265918" y="322759"/>
                  </a:lnTo>
                  <a:lnTo>
                    <a:pt x="265918" y="0"/>
                  </a:lnTo>
                  <a:lnTo>
                    <a:pt x="345001" y="0"/>
                  </a:lnTo>
                  <a:lnTo>
                    <a:pt x="345001" y="348461"/>
                  </a:lnTo>
                  <a:lnTo>
                    <a:pt x="195731" y="348461"/>
                  </a:lnTo>
                  <a:lnTo>
                    <a:pt x="79084" y="25702"/>
                  </a:lnTo>
                  <a:lnTo>
                    <a:pt x="79084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2B4A270-1899-EC70-A912-B16BF89CA02A}"/>
                </a:ext>
              </a:extLst>
            </p:cNvPr>
            <p:cNvSpPr/>
            <p:nvPr/>
          </p:nvSpPr>
          <p:spPr>
            <a:xfrm>
              <a:off x="7744881" y="9187263"/>
              <a:ext cx="306942" cy="348460"/>
            </a:xfrm>
            <a:custGeom>
              <a:avLst/>
              <a:gdLst>
                <a:gd name="csX0" fmla="*/ 306942 w 306942"/>
                <a:gd name="csY0" fmla="*/ 0 h 348460"/>
                <a:gd name="csX1" fmla="*/ 306942 w 306942"/>
                <a:gd name="csY1" fmla="*/ 69198 h 348460"/>
                <a:gd name="csX2" fmla="*/ 193260 w 306942"/>
                <a:gd name="csY2" fmla="*/ 69198 h 348460"/>
                <a:gd name="csX3" fmla="*/ 193260 w 306942"/>
                <a:gd name="csY3" fmla="*/ 348461 h 348460"/>
                <a:gd name="csX4" fmla="*/ 114176 w 306942"/>
                <a:gd name="csY4" fmla="*/ 348461 h 348460"/>
                <a:gd name="csX5" fmla="*/ 114176 w 306942"/>
                <a:gd name="csY5" fmla="*/ 69198 h 348460"/>
                <a:gd name="csX6" fmla="*/ 0 w 306942"/>
                <a:gd name="csY6" fmla="*/ 69198 h 348460"/>
                <a:gd name="csX7" fmla="*/ 0 w 306942"/>
                <a:gd name="csY7" fmla="*/ 0 h 348460"/>
                <a:gd name="csX8" fmla="*/ 306942 w 306942"/>
                <a:gd name="csY8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306942" h="348460">
                  <a:moveTo>
                    <a:pt x="306942" y="0"/>
                  </a:moveTo>
                  <a:lnTo>
                    <a:pt x="306942" y="69198"/>
                  </a:lnTo>
                  <a:lnTo>
                    <a:pt x="193260" y="69198"/>
                  </a:lnTo>
                  <a:lnTo>
                    <a:pt x="193260" y="348461"/>
                  </a:lnTo>
                  <a:lnTo>
                    <a:pt x="114176" y="348461"/>
                  </a:lnTo>
                  <a:lnTo>
                    <a:pt x="114176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306942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680B2D7F-4CC3-E765-D33E-9ECBBC5B5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0093" y="3237349"/>
            <a:ext cx="3812299" cy="3812299"/>
          </a:xfrm>
          <a:custGeom>
            <a:avLst/>
            <a:gdLst>
              <a:gd name="csX0" fmla="*/ 3551238 w 7102475"/>
              <a:gd name="csY0" fmla="*/ 0 h 7102475"/>
              <a:gd name="csX1" fmla="*/ 7097855 w 7102475"/>
              <a:gd name="csY1" fmla="*/ 3368492 h 7102475"/>
              <a:gd name="csX2" fmla="*/ 7102475 w 7102475"/>
              <a:gd name="csY2" fmla="*/ 3551196 h 7102475"/>
              <a:gd name="csX3" fmla="*/ 7102475 w 7102475"/>
              <a:gd name="csY3" fmla="*/ 3551280 h 7102475"/>
              <a:gd name="csX4" fmla="*/ 7097855 w 7102475"/>
              <a:gd name="csY4" fmla="*/ 3733985 h 7102475"/>
              <a:gd name="csX5" fmla="*/ 3733985 w 7102475"/>
              <a:gd name="csY5" fmla="*/ 7097855 h 7102475"/>
              <a:gd name="csX6" fmla="*/ 3551280 w 7102475"/>
              <a:gd name="csY6" fmla="*/ 7102475 h 7102475"/>
              <a:gd name="csX7" fmla="*/ 3551196 w 7102475"/>
              <a:gd name="csY7" fmla="*/ 7102475 h 7102475"/>
              <a:gd name="csX8" fmla="*/ 3368492 w 7102475"/>
              <a:gd name="csY8" fmla="*/ 7097855 h 7102475"/>
              <a:gd name="csX9" fmla="*/ 0 w 7102475"/>
              <a:gd name="csY9" fmla="*/ 3551238 h 7102475"/>
              <a:gd name="csX10" fmla="*/ 3551238 w 7102475"/>
              <a:gd name="csY10" fmla="*/ 0 h 71024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7102475" h="7102475">
                <a:moveTo>
                  <a:pt x="3551238" y="0"/>
                </a:moveTo>
                <a:cubicBezTo>
                  <a:pt x="5451243" y="0"/>
                  <a:pt x="7002742" y="1492124"/>
                  <a:pt x="7097855" y="3368492"/>
                </a:cubicBezTo>
                <a:lnTo>
                  <a:pt x="7102475" y="3551196"/>
                </a:lnTo>
                <a:lnTo>
                  <a:pt x="7102475" y="3551280"/>
                </a:lnTo>
                <a:lnTo>
                  <a:pt x="7097855" y="3733985"/>
                </a:lnTo>
                <a:cubicBezTo>
                  <a:pt x="7005810" y="5549824"/>
                  <a:pt x="5549824" y="7005810"/>
                  <a:pt x="3733985" y="7097855"/>
                </a:cubicBezTo>
                <a:lnTo>
                  <a:pt x="3551280" y="7102475"/>
                </a:lnTo>
                <a:lnTo>
                  <a:pt x="3551196" y="7102475"/>
                </a:lnTo>
                <a:lnTo>
                  <a:pt x="3368492" y="7097855"/>
                </a:lnTo>
                <a:cubicBezTo>
                  <a:pt x="1492124" y="7002742"/>
                  <a:pt x="0" y="5451243"/>
                  <a:pt x="0" y="3551238"/>
                </a:cubicBezTo>
                <a:cubicBezTo>
                  <a:pt x="0" y="1589943"/>
                  <a:pt x="1589943" y="0"/>
                  <a:pt x="3551238" y="0"/>
                </a:cubicBezTo>
                <a:close/>
              </a:path>
            </a:pathLst>
          </a:custGeom>
          <a:pattFill prst="pct90">
            <a:fgClr>
              <a:srgbClr val="3FCFD5"/>
            </a:fgClr>
            <a:bgClr>
              <a:schemeClr val="accent3"/>
            </a:bgClr>
          </a:pattFill>
          <a:ln w="5080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B2FFD-1D37-A885-F5B4-076487A16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00099" y="8147739"/>
            <a:ext cx="5304965" cy="614247"/>
          </a:xfrm>
        </p:spPr>
        <p:txBody>
          <a:bodyPr wrap="square" lIns="0" tIns="0" rIns="0" bIns="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 b="1" i="0"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 b="1">
                <a:latin typeface="+mn-lt"/>
              </a:defRPr>
            </a:lvl2pPr>
            <a:lvl3pPr>
              <a:buNone/>
              <a:defRPr b="1">
                <a:latin typeface="+mn-lt"/>
              </a:defRPr>
            </a:lvl3pPr>
            <a:lvl4pPr>
              <a:buNone/>
              <a:defRPr b="1">
                <a:latin typeface="+mn-lt"/>
              </a:defRPr>
            </a:lvl4pPr>
            <a:lvl5pPr>
              <a:buNone/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NOMBRE (EN MAYÚSCULAS)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8B5DB48-58C7-C406-3566-A0942336917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12062" y="3131537"/>
            <a:ext cx="4681039" cy="4023927"/>
          </a:xfrm>
        </p:spPr>
        <p:txBody>
          <a:bodyPr tIns="0" rIns="0" bIns="0" anchor="ctr"/>
          <a:lstStyle>
            <a:lvl1pPr marL="0" indent="0" algn="ctr">
              <a:lnSpc>
                <a:spcPct val="90000"/>
              </a:lnSpc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>
              <a:buNone/>
              <a:defRPr>
                <a:solidFill>
                  <a:schemeClr val="bg1"/>
                </a:solidFill>
                <a:latin typeface="+mn-lt"/>
              </a:defRPr>
            </a:lvl3pPr>
            <a:lvl4pPr>
              <a:buNone/>
              <a:defRPr>
                <a:solidFill>
                  <a:schemeClr val="bg1"/>
                </a:solidFill>
                <a:latin typeface="+mn-lt"/>
              </a:defRPr>
            </a:lvl4pPr>
            <a:lvl5pPr>
              <a:buNone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ste es un texto de ejemplo. Por favor comparte aquí lo que piensas. Trata de escribir alrededor de 250 a 300 caracteres.</a:t>
            </a:r>
            <a:br>
              <a:rPr lang="en-US" dirty="0"/>
            </a:br>
            <a:r>
              <a:rPr lang="en-US" dirty="0"/>
              <a:t>Lorem ipsum dolor sit amet, consectetur adipiscing elit, sed do eiusmod tempor incididunt ut labore et dolore magna aliqua.</a:t>
            </a:r>
            <a:br>
              <a:rPr lang="en-US" dirty="0"/>
            </a:br>
            <a:r>
              <a:rPr lang="en-US" dirty="0"/>
              <a:t>Excepteur sint occaecat cupidatat non provident.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449623A-5F3C-6677-0762-C733A58010B9}"/>
              </a:ext>
            </a:extLst>
          </p:cNvPr>
          <p:cNvGrpSpPr/>
          <p:nvPr userDrawn="1"/>
        </p:nvGrpSpPr>
        <p:grpSpPr>
          <a:xfrm>
            <a:off x="4992441" y="7695771"/>
            <a:ext cx="4720280" cy="453822"/>
            <a:chOff x="3602071" y="7695770"/>
            <a:chExt cx="5888951" cy="56618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4A37628-5D75-CAE1-B2BE-E847EE3A26A5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Graphic 45">
              <a:extLst>
                <a:ext uri="{FF2B5EF4-FFF2-40B4-BE49-F238E27FC236}">
                  <a16:creationId xmlns:a16="http://schemas.microsoft.com/office/drawing/2014/main" id="{699ACD69-44DC-AE2D-64BB-DBE74CB6DE37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8F0EA6F-FFAF-705C-7959-47D8B146D5B3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AF1522E-38EC-2455-2B1C-FE6CE8DA1840}"/>
              </a:ext>
            </a:extLst>
          </p:cNvPr>
          <p:cNvGrpSpPr/>
          <p:nvPr userDrawn="1"/>
        </p:nvGrpSpPr>
        <p:grpSpPr>
          <a:xfrm rot="10800000">
            <a:off x="4992441" y="2137406"/>
            <a:ext cx="4720280" cy="453822"/>
            <a:chOff x="3602071" y="7695770"/>
            <a:chExt cx="5888951" cy="566181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5A3D28D-9CD7-70EC-25A7-A4E22E3F4064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Graphic 45">
              <a:extLst>
                <a:ext uri="{FF2B5EF4-FFF2-40B4-BE49-F238E27FC236}">
                  <a16:creationId xmlns:a16="http://schemas.microsoft.com/office/drawing/2014/main" id="{908F5BDE-335A-FFBB-1C2D-D887F3723114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D3F92AE-B31F-3CD8-7CE3-B0F084DF49B6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EE5BC827-CA3B-5E0B-D473-43D696B4375F}"/>
              </a:ext>
            </a:extLst>
          </p:cNvPr>
          <p:cNvSpPr txBox="1"/>
          <p:nvPr userDrawn="1"/>
        </p:nvSpPr>
        <p:spPr>
          <a:xfrm>
            <a:off x="5755930" y="8790098"/>
            <a:ext cx="40588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i="1" dirty="0">
                <a:solidFill>
                  <a:schemeClr val="accent2"/>
                </a:solidFill>
              </a:rPr>
              <a:t>BENEFICIARIO DE LA BECA DE LEGADO INDÍGENA DE TC ENERGÍA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135197C4-9D5D-BA5C-83E8-C17872A6FC8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7672" y="9602708"/>
            <a:ext cx="2100555" cy="407993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B7608577-C1A9-5651-5BFD-3100DF0024CC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4649188" y="-3"/>
            <a:ext cx="4407247" cy="6019559"/>
            <a:chOff x="10477007" y="683441"/>
            <a:chExt cx="4407247" cy="6019559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29673F1-B80C-344D-B4E8-9DA39963335C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477007" y="683441"/>
              <a:ext cx="348877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ÓMO USAR ESTA PLANTILLA: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B5389304-3109-8689-54C8-6570F4C8379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895961" y="1193800"/>
              <a:ext cx="3988293" cy="5509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a tu diapositiva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Reemplaza el texto y las imágenes de ejemplo con tu propio contenido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Asegúrate de que todo se vea bien y quede dentro del diseño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Ve a Archivo → Guardar como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dónde quieres guardar tu archivo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ambia el tipo de archivo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n el menú desplegable "Guardar como tipo", selecciona: Formato de intercambio de archivos JPEG (*.jpg)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Haz clic en Guardar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te preguntará: "¿Todas las diapositivas?" o "¿Solo esta?"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Solo esta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¡Listo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Tu archivo JPG se guardará en la carpeta que elegiste, listo para compartir.</a:t>
              </a: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F094503-EB0C-9C68-26A6-559A49BB7C0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062D442-B552-4D0E-D0E3-5448130B819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9436" y="2706475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E980F53-B87A-BC8F-9A24-6B4A27495BD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5282" y="3407553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7D25391-2F21-C9ED-5959-8CF0FC8CBD9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51236" y="4652198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822ED-6B9F-3CD8-97BB-0594AAE1241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6592" y="5887199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A76DA1F7-E721-4302-80AB-8E0449B7812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7095" y="8880441"/>
            <a:ext cx="375124" cy="52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44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meni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5DD7B3-5227-F68A-7751-2EDAF842AE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0287000" cy="10287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8A562A-97E3-4310-2562-7F81DC127D6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47" r="447"/>
          <a:stretch/>
        </p:blipFill>
        <p:spPr>
          <a:xfrm>
            <a:off x="-14828" y="-2"/>
            <a:ext cx="2548768" cy="10287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E0DEF8-9D0C-BA68-27B9-2B2AC3BE1BB1}"/>
              </a:ext>
            </a:extLst>
          </p:cNvPr>
          <p:cNvSpPr>
            <a:spLocks/>
          </p:cNvSpPr>
          <p:nvPr userDrawn="1"/>
        </p:nvSpPr>
        <p:spPr>
          <a:xfrm rot="5400000">
            <a:off x="-2557258" y="5084715"/>
            <a:ext cx="10287000" cy="11756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0" dist="38100" algn="l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975C0CB-2188-1FF8-3B65-30F092306D7D}"/>
              </a:ext>
            </a:extLst>
          </p:cNvPr>
          <p:cNvGrpSpPr/>
          <p:nvPr userDrawn="1"/>
        </p:nvGrpSpPr>
        <p:grpSpPr>
          <a:xfrm>
            <a:off x="2051769" y="-2"/>
            <a:ext cx="1068946" cy="10287000"/>
            <a:chOff x="2051769" y="-2"/>
            <a:chExt cx="1068946" cy="10287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1E81B1B-D67B-3432-6956-32DFCF59F8A1}"/>
                </a:ext>
              </a:extLst>
            </p:cNvPr>
            <p:cNvSpPr>
              <a:spLocks/>
            </p:cNvSpPr>
            <p:nvPr userDrawn="1"/>
          </p:nvSpPr>
          <p:spPr>
            <a:xfrm rot="5400000">
              <a:off x="-2557258" y="5084715"/>
              <a:ext cx="10287000" cy="11756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0" dist="38100" algn="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EE3D3E8-7942-D3CB-9CD2-33F875B2C199}"/>
                </a:ext>
              </a:extLst>
            </p:cNvPr>
            <p:cNvGrpSpPr/>
            <p:nvPr userDrawn="1"/>
          </p:nvGrpSpPr>
          <p:grpSpPr>
            <a:xfrm>
              <a:off x="2051769" y="1103520"/>
              <a:ext cx="1068946" cy="1068946"/>
              <a:chOff x="2051769" y="1103520"/>
              <a:chExt cx="1068946" cy="1068946"/>
            </a:xfrm>
          </p:grpSpPr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04E48DC4-C1CA-EF17-6D54-F9E9C4C376CB}"/>
                  </a:ext>
                </a:extLst>
              </p:cNvPr>
              <p:cNvSpPr/>
              <p:nvPr userDrawn="1"/>
            </p:nvSpPr>
            <p:spPr>
              <a:xfrm>
                <a:off x="2051769" y="1103520"/>
                <a:ext cx="1068946" cy="106894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73" name="Graphic 72">
                <a:extLst>
                  <a:ext uri="{FF2B5EF4-FFF2-40B4-BE49-F238E27FC236}">
                    <a16:creationId xmlns:a16="http://schemas.microsoft.com/office/drawing/2014/main" id="{18A18C2D-BF09-25FF-C77D-1CB0A710874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300346" y="1263088"/>
                <a:ext cx="571792" cy="803599"/>
              </a:xfrm>
              <a:prstGeom prst="rect">
                <a:avLst/>
              </a:prstGeom>
            </p:spPr>
          </p:pic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921C179B-4581-BACB-6A49-7077167D4CC2}"/>
                </a:ext>
              </a:extLst>
            </p:cNvPr>
            <p:cNvGrpSpPr/>
            <p:nvPr userDrawn="1"/>
          </p:nvGrpSpPr>
          <p:grpSpPr>
            <a:xfrm>
              <a:off x="2051769" y="8109457"/>
              <a:ext cx="1068946" cy="1068946"/>
              <a:chOff x="2051769" y="1103520"/>
              <a:chExt cx="1068946" cy="1068946"/>
            </a:xfrm>
          </p:grpSpPr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0C318647-04FF-7F4D-A4B6-50A75F8E3EA0}"/>
                  </a:ext>
                </a:extLst>
              </p:cNvPr>
              <p:cNvSpPr/>
              <p:nvPr userDrawn="1"/>
            </p:nvSpPr>
            <p:spPr>
              <a:xfrm>
                <a:off x="2051769" y="1103520"/>
                <a:ext cx="1068946" cy="106894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71" name="Graphic 70">
                <a:extLst>
                  <a:ext uri="{FF2B5EF4-FFF2-40B4-BE49-F238E27FC236}">
                    <a16:creationId xmlns:a16="http://schemas.microsoft.com/office/drawing/2014/main" id="{7B757B75-17B4-0631-BC58-278C0B05450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300346" y="1263088"/>
                <a:ext cx="571792" cy="803599"/>
              </a:xfrm>
              <a:prstGeom prst="rect">
                <a:avLst/>
              </a:prstGeom>
            </p:spPr>
          </p:pic>
        </p:grp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88FB78EB-0E3E-32C0-829B-D4097E236514}"/>
                </a:ext>
              </a:extLst>
            </p:cNvPr>
            <p:cNvSpPr/>
            <p:nvPr userDrawn="1"/>
          </p:nvSpPr>
          <p:spPr>
            <a:xfrm>
              <a:off x="2397542" y="2450673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03F6CCDB-2C96-754F-6E74-6D6139624840}"/>
                </a:ext>
              </a:extLst>
            </p:cNvPr>
            <p:cNvSpPr/>
            <p:nvPr userDrawn="1"/>
          </p:nvSpPr>
          <p:spPr>
            <a:xfrm>
              <a:off x="2397542" y="303960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A372F74F-80F1-8B80-E52B-D7851BBEFC8A}"/>
                </a:ext>
              </a:extLst>
            </p:cNvPr>
            <p:cNvSpPr/>
            <p:nvPr userDrawn="1"/>
          </p:nvSpPr>
          <p:spPr>
            <a:xfrm>
              <a:off x="2397542" y="9583847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5A86131-288C-2B0E-CBC6-D03597774CF8}"/>
                </a:ext>
              </a:extLst>
            </p:cNvPr>
            <p:cNvSpPr/>
            <p:nvPr userDrawn="1"/>
          </p:nvSpPr>
          <p:spPr>
            <a:xfrm>
              <a:off x="2397542" y="7437134"/>
              <a:ext cx="371022" cy="3710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F006D973-BE6E-87DD-37D9-4C44828DC29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53134" y="953189"/>
            <a:ext cx="4951202" cy="4957465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33CF3649-7D86-B664-7D93-10F10649444B}"/>
              </a:ext>
            </a:extLst>
          </p:cNvPr>
          <p:cNvSpPr/>
          <p:nvPr userDrawn="1"/>
        </p:nvSpPr>
        <p:spPr>
          <a:xfrm>
            <a:off x="574279" y="3131535"/>
            <a:ext cx="4023926" cy="402392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921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7284C79-8DCD-9E21-35F2-C3B6CB41E221}"/>
              </a:ext>
            </a:extLst>
          </p:cNvPr>
          <p:cNvGrpSpPr/>
          <p:nvPr userDrawn="1"/>
        </p:nvGrpSpPr>
        <p:grpSpPr>
          <a:xfrm>
            <a:off x="1972872" y="-2410817"/>
            <a:ext cx="4640646" cy="513313"/>
            <a:chOff x="560168" y="8699501"/>
            <a:chExt cx="7491655" cy="84289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18539B2-9946-7D29-E46F-A06E29869CDB}"/>
                </a:ext>
              </a:extLst>
            </p:cNvPr>
            <p:cNvSpPr/>
            <p:nvPr/>
          </p:nvSpPr>
          <p:spPr>
            <a:xfrm>
              <a:off x="562392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8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249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2683440-136C-CBA5-F42E-AC44B12A424B}"/>
                </a:ext>
              </a:extLst>
            </p:cNvPr>
            <p:cNvSpPr/>
            <p:nvPr/>
          </p:nvSpPr>
          <p:spPr>
            <a:xfrm>
              <a:off x="888116" y="8699501"/>
              <a:ext cx="295079" cy="325229"/>
            </a:xfrm>
            <a:custGeom>
              <a:avLst/>
              <a:gdLst>
                <a:gd name="csX0" fmla="*/ 0 w 295079"/>
                <a:gd name="csY0" fmla="*/ 162368 h 325229"/>
                <a:gd name="csX1" fmla="*/ 147787 w 295079"/>
                <a:gd name="csY1" fmla="*/ 0 h 325229"/>
                <a:gd name="csX2" fmla="*/ 295079 w 295079"/>
                <a:gd name="csY2" fmla="*/ 162368 h 325229"/>
                <a:gd name="csX3" fmla="*/ 147787 w 295079"/>
                <a:gd name="csY3" fmla="*/ 325230 h 325229"/>
                <a:gd name="csX4" fmla="*/ 0 w 295079"/>
                <a:gd name="csY4" fmla="*/ 162368 h 325229"/>
                <a:gd name="csX5" fmla="*/ 69445 w 295079"/>
                <a:gd name="csY5" fmla="*/ 215255 h 325229"/>
                <a:gd name="csX6" fmla="*/ 200179 w 295079"/>
                <a:gd name="csY6" fmla="*/ 71175 h 325229"/>
                <a:gd name="csX7" fmla="*/ 147787 w 295079"/>
                <a:gd name="csY7" fmla="*/ 53381 h 325229"/>
                <a:gd name="csX8" fmla="*/ 61784 w 295079"/>
                <a:gd name="csY8" fmla="*/ 162368 h 325229"/>
                <a:gd name="csX9" fmla="*/ 69445 w 295079"/>
                <a:gd name="csY9" fmla="*/ 215255 h 325229"/>
                <a:gd name="csX10" fmla="*/ 147787 w 295079"/>
                <a:gd name="csY10" fmla="*/ 271354 h 325229"/>
                <a:gd name="csX11" fmla="*/ 232801 w 295079"/>
                <a:gd name="csY11" fmla="*/ 162368 h 325229"/>
                <a:gd name="csX12" fmla="*/ 225140 w 295079"/>
                <a:gd name="csY12" fmla="*/ 109975 h 325229"/>
                <a:gd name="csX13" fmla="*/ 94653 w 295079"/>
                <a:gd name="csY13" fmla="*/ 254055 h 325229"/>
                <a:gd name="csX14" fmla="*/ 147540 w 295079"/>
                <a:gd name="csY14" fmla="*/ 271354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95079" h="325229">
                  <a:moveTo>
                    <a:pt x="0" y="162368"/>
                  </a:moveTo>
                  <a:cubicBezTo>
                    <a:pt x="0" y="66726"/>
                    <a:pt x="53875" y="0"/>
                    <a:pt x="147787" y="0"/>
                  </a:cubicBezTo>
                  <a:cubicBezTo>
                    <a:pt x="241698" y="0"/>
                    <a:pt x="295079" y="66726"/>
                    <a:pt x="295079" y="162368"/>
                  </a:cubicBezTo>
                  <a:cubicBezTo>
                    <a:pt x="295079" y="258009"/>
                    <a:pt x="240710" y="325230"/>
                    <a:pt x="147787" y="325230"/>
                  </a:cubicBezTo>
                  <a:cubicBezTo>
                    <a:pt x="54864" y="325230"/>
                    <a:pt x="0" y="258503"/>
                    <a:pt x="0" y="162368"/>
                  </a:cubicBezTo>
                  <a:close/>
                  <a:moveTo>
                    <a:pt x="69445" y="215255"/>
                  </a:moveTo>
                  <a:lnTo>
                    <a:pt x="200179" y="71175"/>
                  </a:lnTo>
                  <a:cubicBezTo>
                    <a:pt x="186834" y="59560"/>
                    <a:pt x="169040" y="53381"/>
                    <a:pt x="147787" y="53381"/>
                  </a:cubicBezTo>
                  <a:cubicBezTo>
                    <a:pt x="93170" y="53381"/>
                    <a:pt x="61784" y="93417"/>
                    <a:pt x="61784" y="162368"/>
                  </a:cubicBezTo>
                  <a:cubicBezTo>
                    <a:pt x="61784" y="182386"/>
                    <a:pt x="64502" y="200179"/>
                    <a:pt x="69445" y="215255"/>
                  </a:cubicBezTo>
                  <a:close/>
                  <a:moveTo>
                    <a:pt x="147787" y="271354"/>
                  </a:moveTo>
                  <a:cubicBezTo>
                    <a:pt x="202404" y="271354"/>
                    <a:pt x="232801" y="232307"/>
                    <a:pt x="232801" y="162368"/>
                  </a:cubicBezTo>
                  <a:cubicBezTo>
                    <a:pt x="232801" y="142350"/>
                    <a:pt x="230083" y="125050"/>
                    <a:pt x="225140" y="109975"/>
                  </a:cubicBezTo>
                  <a:lnTo>
                    <a:pt x="94653" y="254055"/>
                  </a:lnTo>
                  <a:cubicBezTo>
                    <a:pt x="108492" y="265176"/>
                    <a:pt x="126286" y="271354"/>
                    <a:pt x="147540" y="271354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18E8036-6F15-0AAA-2997-CFFB31BC9C97}"/>
                </a:ext>
              </a:extLst>
            </p:cNvPr>
            <p:cNvSpPr/>
            <p:nvPr/>
          </p:nvSpPr>
          <p:spPr>
            <a:xfrm>
              <a:off x="1243990" y="8699501"/>
              <a:ext cx="266658" cy="319545"/>
            </a:xfrm>
            <a:custGeom>
              <a:avLst/>
              <a:gdLst>
                <a:gd name="csX0" fmla="*/ 143338 w 266658"/>
                <a:gd name="csY0" fmla="*/ 0 h 319545"/>
                <a:gd name="csX1" fmla="*/ 266659 w 266658"/>
                <a:gd name="csY1" fmla="*/ 107751 h 319545"/>
                <a:gd name="csX2" fmla="*/ 31386 w 266658"/>
                <a:gd name="csY2" fmla="*/ 265670 h 319545"/>
                <a:gd name="csX3" fmla="*/ 266659 w 266658"/>
                <a:gd name="csY3" fmla="*/ 265670 h 319545"/>
                <a:gd name="csX4" fmla="*/ 266659 w 266658"/>
                <a:gd name="csY4" fmla="*/ 319546 h 319545"/>
                <a:gd name="csX5" fmla="*/ 4448 w 266658"/>
                <a:gd name="csY5" fmla="*/ 319546 h 319545"/>
                <a:gd name="csX6" fmla="*/ 4448 w 266658"/>
                <a:gd name="csY6" fmla="*/ 217232 h 319545"/>
                <a:gd name="csX7" fmla="*/ 204628 w 266658"/>
                <a:gd name="csY7" fmla="*/ 106762 h 319545"/>
                <a:gd name="csX8" fmla="*/ 142350 w 266658"/>
                <a:gd name="csY8" fmla="*/ 53875 h 319545"/>
                <a:gd name="csX9" fmla="*/ 61784 w 266658"/>
                <a:gd name="csY9" fmla="*/ 151247 h 319545"/>
                <a:gd name="csX10" fmla="*/ 0 w 266658"/>
                <a:gd name="csY10" fmla="*/ 151247 h 319545"/>
                <a:gd name="csX11" fmla="*/ 143338 w 266658"/>
                <a:gd name="csY11" fmla="*/ 0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66658" h="319545">
                  <a:moveTo>
                    <a:pt x="143338" y="0"/>
                  </a:moveTo>
                  <a:cubicBezTo>
                    <a:pt x="216737" y="0"/>
                    <a:pt x="266659" y="36823"/>
                    <a:pt x="266659" y="107751"/>
                  </a:cubicBezTo>
                  <a:cubicBezTo>
                    <a:pt x="266659" y="206111"/>
                    <a:pt x="161132" y="243922"/>
                    <a:pt x="31386" y="265670"/>
                  </a:cubicBezTo>
                  <a:lnTo>
                    <a:pt x="266659" y="265670"/>
                  </a:lnTo>
                  <a:lnTo>
                    <a:pt x="266659" y="319546"/>
                  </a:lnTo>
                  <a:lnTo>
                    <a:pt x="4448" y="319546"/>
                  </a:lnTo>
                  <a:lnTo>
                    <a:pt x="4448" y="217232"/>
                  </a:lnTo>
                  <a:cubicBezTo>
                    <a:pt x="83779" y="211548"/>
                    <a:pt x="204628" y="183374"/>
                    <a:pt x="204628" y="106762"/>
                  </a:cubicBezTo>
                  <a:cubicBezTo>
                    <a:pt x="204628" y="76612"/>
                    <a:pt x="187328" y="53875"/>
                    <a:pt x="142350" y="53875"/>
                  </a:cubicBezTo>
                  <a:cubicBezTo>
                    <a:pt x="90204" y="53875"/>
                    <a:pt x="61784" y="81802"/>
                    <a:pt x="61784" y="151247"/>
                  </a:cubicBezTo>
                  <a:lnTo>
                    <a:pt x="0" y="151247"/>
                  </a:lnTo>
                  <a:cubicBezTo>
                    <a:pt x="0" y="43002"/>
                    <a:pt x="63267" y="0"/>
                    <a:pt x="143338" y="0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170F306-B98E-C1BC-CBEA-02C91226003D}"/>
                </a:ext>
              </a:extLst>
            </p:cNvPr>
            <p:cNvSpPr/>
            <p:nvPr/>
          </p:nvSpPr>
          <p:spPr>
            <a:xfrm>
              <a:off x="1574163" y="8705432"/>
              <a:ext cx="276791" cy="319545"/>
            </a:xfrm>
            <a:custGeom>
              <a:avLst/>
              <a:gdLst>
                <a:gd name="csX0" fmla="*/ 0 w 276791"/>
                <a:gd name="csY0" fmla="*/ 163603 h 319545"/>
                <a:gd name="csX1" fmla="*/ 154954 w 276791"/>
                <a:gd name="csY1" fmla="*/ 0 h 319545"/>
                <a:gd name="csX2" fmla="*/ 252325 w 276791"/>
                <a:gd name="csY2" fmla="*/ 0 h 319545"/>
                <a:gd name="csX3" fmla="*/ 252325 w 276791"/>
                <a:gd name="csY3" fmla="*/ 53381 h 319545"/>
                <a:gd name="csX4" fmla="*/ 153471 w 276791"/>
                <a:gd name="csY4" fmla="*/ 53381 h 319545"/>
                <a:gd name="csX5" fmla="*/ 56100 w 276791"/>
                <a:gd name="csY5" fmla="*/ 149022 h 319545"/>
                <a:gd name="csX6" fmla="*/ 157425 w 276791"/>
                <a:gd name="csY6" fmla="*/ 94406 h 319545"/>
                <a:gd name="csX7" fmla="*/ 276791 w 276791"/>
                <a:gd name="csY7" fmla="*/ 200674 h 319545"/>
                <a:gd name="csX8" fmla="*/ 143338 w 276791"/>
                <a:gd name="csY8" fmla="*/ 319546 h 319545"/>
                <a:gd name="csX9" fmla="*/ 0 w 276791"/>
                <a:gd name="csY9" fmla="*/ 163851 h 319545"/>
                <a:gd name="csX10" fmla="*/ 140867 w 276791"/>
                <a:gd name="csY10" fmla="*/ 264929 h 319545"/>
                <a:gd name="csX11" fmla="*/ 214761 w 276791"/>
                <a:gd name="csY11" fmla="*/ 203639 h 319545"/>
                <a:gd name="csX12" fmla="*/ 141361 w 276791"/>
                <a:gd name="csY12" fmla="*/ 144080 h 319545"/>
                <a:gd name="csX13" fmla="*/ 61784 w 276791"/>
                <a:gd name="csY13" fmla="*/ 203145 h 319545"/>
                <a:gd name="csX14" fmla="*/ 141114 w 276791"/>
                <a:gd name="csY14" fmla="*/ 264929 h 31954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</a:cxnLst>
              <a:rect l="l" t="t" r="r" b="b"/>
              <a:pathLst>
                <a:path w="276791" h="319545">
                  <a:moveTo>
                    <a:pt x="0" y="163603"/>
                  </a:moveTo>
                  <a:cubicBezTo>
                    <a:pt x="0" y="67962"/>
                    <a:pt x="37812" y="0"/>
                    <a:pt x="154954" y="0"/>
                  </a:cubicBezTo>
                  <a:lnTo>
                    <a:pt x="252325" y="0"/>
                  </a:lnTo>
                  <a:lnTo>
                    <a:pt x="252325" y="53381"/>
                  </a:lnTo>
                  <a:lnTo>
                    <a:pt x="153471" y="53381"/>
                  </a:lnTo>
                  <a:cubicBezTo>
                    <a:pt x="96877" y="53381"/>
                    <a:pt x="64008" y="83285"/>
                    <a:pt x="56100" y="149022"/>
                  </a:cubicBezTo>
                  <a:cubicBezTo>
                    <a:pt x="71669" y="113929"/>
                    <a:pt x="106268" y="94406"/>
                    <a:pt x="157425" y="94406"/>
                  </a:cubicBezTo>
                  <a:cubicBezTo>
                    <a:pt x="230083" y="94406"/>
                    <a:pt x="276791" y="138396"/>
                    <a:pt x="276791" y="200674"/>
                  </a:cubicBezTo>
                  <a:cubicBezTo>
                    <a:pt x="276791" y="273579"/>
                    <a:pt x="225140" y="319546"/>
                    <a:pt x="143338" y="319546"/>
                  </a:cubicBezTo>
                  <a:cubicBezTo>
                    <a:pt x="54864" y="319546"/>
                    <a:pt x="0" y="268389"/>
                    <a:pt x="0" y="163851"/>
                  </a:cubicBezTo>
                  <a:close/>
                  <a:moveTo>
                    <a:pt x="140867" y="264929"/>
                  </a:moveTo>
                  <a:cubicBezTo>
                    <a:pt x="189306" y="264929"/>
                    <a:pt x="214761" y="243181"/>
                    <a:pt x="214761" y="203639"/>
                  </a:cubicBezTo>
                  <a:cubicBezTo>
                    <a:pt x="214761" y="166816"/>
                    <a:pt x="188564" y="144080"/>
                    <a:pt x="141361" y="144080"/>
                  </a:cubicBezTo>
                  <a:cubicBezTo>
                    <a:pt x="90699" y="144080"/>
                    <a:pt x="61784" y="166322"/>
                    <a:pt x="61784" y="203145"/>
                  </a:cubicBezTo>
                  <a:cubicBezTo>
                    <a:pt x="61784" y="239968"/>
                    <a:pt x="87980" y="264929"/>
                    <a:pt x="141114" y="264929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4D96342-C9C1-90A0-3663-ABCF0B66DD9E}"/>
                </a:ext>
              </a:extLst>
            </p:cNvPr>
            <p:cNvSpPr/>
            <p:nvPr/>
          </p:nvSpPr>
          <p:spPr>
            <a:xfrm>
              <a:off x="2059042" y="8705185"/>
              <a:ext cx="270118" cy="313861"/>
            </a:xfrm>
            <a:custGeom>
              <a:avLst/>
              <a:gdLst>
                <a:gd name="csX0" fmla="*/ 269872 w 270118"/>
                <a:gd name="csY0" fmla="*/ 0 h 313861"/>
                <a:gd name="csX1" fmla="*/ 269872 w 270118"/>
                <a:gd name="csY1" fmla="*/ 53875 h 313861"/>
                <a:gd name="csX2" fmla="*/ 165828 w 270118"/>
                <a:gd name="csY2" fmla="*/ 53875 h 313861"/>
                <a:gd name="csX3" fmla="*/ 165828 w 270118"/>
                <a:gd name="csY3" fmla="*/ 313862 h 313861"/>
                <a:gd name="csX4" fmla="*/ 104044 w 270118"/>
                <a:gd name="csY4" fmla="*/ 313862 h 313861"/>
                <a:gd name="csX5" fmla="*/ 104044 w 270118"/>
                <a:gd name="csY5" fmla="*/ 53875 h 313861"/>
                <a:gd name="csX6" fmla="*/ 0 w 270118"/>
                <a:gd name="csY6" fmla="*/ 53875 h 313861"/>
                <a:gd name="csX7" fmla="*/ 0 w 270118"/>
                <a:gd name="csY7" fmla="*/ 0 h 313861"/>
                <a:gd name="csX8" fmla="*/ 270119 w 270118"/>
                <a:gd name="csY8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270118" h="313861">
                  <a:moveTo>
                    <a:pt x="269872" y="0"/>
                  </a:moveTo>
                  <a:lnTo>
                    <a:pt x="269872" y="53875"/>
                  </a:lnTo>
                  <a:lnTo>
                    <a:pt x="165828" y="53875"/>
                  </a:lnTo>
                  <a:lnTo>
                    <a:pt x="165828" y="313862"/>
                  </a:lnTo>
                  <a:lnTo>
                    <a:pt x="104044" y="313862"/>
                  </a:lnTo>
                  <a:lnTo>
                    <a:pt x="104044" y="53875"/>
                  </a:lnTo>
                  <a:lnTo>
                    <a:pt x="0" y="53875"/>
                  </a:lnTo>
                  <a:lnTo>
                    <a:pt x="0" y="0"/>
                  </a:lnTo>
                  <a:lnTo>
                    <a:pt x="270119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49ADAD5-2F2A-9F6C-B8E2-BC268B72BE98}"/>
                </a:ext>
              </a:extLst>
            </p:cNvPr>
            <p:cNvSpPr/>
            <p:nvPr/>
          </p:nvSpPr>
          <p:spPr>
            <a:xfrm>
              <a:off x="2364501" y="8699501"/>
              <a:ext cx="309660" cy="325229"/>
            </a:xfrm>
            <a:custGeom>
              <a:avLst/>
              <a:gdLst>
                <a:gd name="csX0" fmla="*/ 0 w 309660"/>
                <a:gd name="csY0" fmla="*/ 162368 h 325229"/>
                <a:gd name="csX1" fmla="*/ 157919 w 309660"/>
                <a:gd name="csY1" fmla="*/ 0 h 325229"/>
                <a:gd name="csX2" fmla="*/ 309660 w 309660"/>
                <a:gd name="csY2" fmla="*/ 126780 h 325229"/>
                <a:gd name="csX3" fmla="*/ 245899 w 309660"/>
                <a:gd name="csY3" fmla="*/ 126780 h 325229"/>
                <a:gd name="csX4" fmla="*/ 158167 w 309660"/>
                <a:gd name="csY4" fmla="*/ 55605 h 325229"/>
                <a:gd name="csX5" fmla="*/ 63514 w 309660"/>
                <a:gd name="csY5" fmla="*/ 162368 h 325229"/>
                <a:gd name="csX6" fmla="*/ 158167 w 309660"/>
                <a:gd name="csY6" fmla="*/ 269624 h 325229"/>
                <a:gd name="csX7" fmla="*/ 245899 w 309660"/>
                <a:gd name="csY7" fmla="*/ 197955 h 325229"/>
                <a:gd name="csX8" fmla="*/ 309660 w 309660"/>
                <a:gd name="csY8" fmla="*/ 197955 h 325229"/>
                <a:gd name="csX9" fmla="*/ 157919 w 309660"/>
                <a:gd name="csY9" fmla="*/ 325230 h 325229"/>
                <a:gd name="csX10" fmla="*/ 0 w 309660"/>
                <a:gd name="csY10" fmla="*/ 162368 h 325229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09660" h="325229">
                  <a:moveTo>
                    <a:pt x="0" y="162368"/>
                  </a:moveTo>
                  <a:cubicBezTo>
                    <a:pt x="0" y="70186"/>
                    <a:pt x="59559" y="0"/>
                    <a:pt x="157919" y="0"/>
                  </a:cubicBezTo>
                  <a:cubicBezTo>
                    <a:pt x="243428" y="0"/>
                    <a:pt x="300269" y="48438"/>
                    <a:pt x="309660" y="126780"/>
                  </a:cubicBezTo>
                  <a:lnTo>
                    <a:pt x="245899" y="126780"/>
                  </a:lnTo>
                  <a:cubicBezTo>
                    <a:pt x="239227" y="81802"/>
                    <a:pt x="206852" y="55605"/>
                    <a:pt x="158167" y="55605"/>
                  </a:cubicBezTo>
                  <a:cubicBezTo>
                    <a:pt x="99101" y="55605"/>
                    <a:pt x="63514" y="94653"/>
                    <a:pt x="63514" y="162368"/>
                  </a:cubicBezTo>
                  <a:cubicBezTo>
                    <a:pt x="63514" y="230083"/>
                    <a:pt x="99101" y="269624"/>
                    <a:pt x="158167" y="269624"/>
                  </a:cubicBezTo>
                  <a:cubicBezTo>
                    <a:pt x="206605" y="269624"/>
                    <a:pt x="239227" y="242934"/>
                    <a:pt x="245899" y="197955"/>
                  </a:cubicBezTo>
                  <a:lnTo>
                    <a:pt x="309660" y="197955"/>
                  </a:lnTo>
                  <a:cubicBezTo>
                    <a:pt x="300269" y="276791"/>
                    <a:pt x="243428" y="325230"/>
                    <a:pt x="157919" y="325230"/>
                  </a:cubicBezTo>
                  <a:cubicBezTo>
                    <a:pt x="59559" y="325230"/>
                    <a:pt x="0" y="254796"/>
                    <a:pt x="0" y="162368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3F0474-EFA9-A356-BAB0-B95441A5A50F}"/>
                </a:ext>
              </a:extLst>
            </p:cNvPr>
            <p:cNvSpPr/>
            <p:nvPr/>
          </p:nvSpPr>
          <p:spPr>
            <a:xfrm>
              <a:off x="2846022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5 w 235025"/>
                <a:gd name="csY1" fmla="*/ 0 h 313861"/>
                <a:gd name="csX2" fmla="*/ 235025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5 w 235025"/>
                <a:gd name="csY9" fmla="*/ 259986 h 313861"/>
                <a:gd name="csX10" fmla="*/ 235025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5" y="0"/>
                  </a:lnTo>
                  <a:lnTo>
                    <a:pt x="235025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5" y="259986"/>
                  </a:lnTo>
                  <a:lnTo>
                    <a:pt x="235025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D6F6F19-EBA7-32A9-02EF-8A1316B4AA55}"/>
                </a:ext>
              </a:extLst>
            </p:cNvPr>
            <p:cNvSpPr/>
            <p:nvPr/>
          </p:nvSpPr>
          <p:spPr>
            <a:xfrm>
              <a:off x="3152469" y="8705184"/>
              <a:ext cx="299775" cy="313613"/>
            </a:xfrm>
            <a:custGeom>
              <a:avLst/>
              <a:gdLst>
                <a:gd name="csX0" fmla="*/ 0 w 299774"/>
                <a:gd name="csY0" fmla="*/ 0 h 313614"/>
                <a:gd name="csX1" fmla="*/ 116153 w 299774"/>
                <a:gd name="csY1" fmla="*/ 0 h 313614"/>
                <a:gd name="csX2" fmla="*/ 237991 w 299774"/>
                <a:gd name="csY2" fmla="*/ 293349 h 313614"/>
                <a:gd name="csX3" fmla="*/ 237991 w 299774"/>
                <a:gd name="csY3" fmla="*/ 0 h 313614"/>
                <a:gd name="csX4" fmla="*/ 299775 w 299774"/>
                <a:gd name="csY4" fmla="*/ 0 h 313614"/>
                <a:gd name="csX5" fmla="*/ 299775 w 299774"/>
                <a:gd name="csY5" fmla="*/ 313615 h 313614"/>
                <a:gd name="csX6" fmla="*/ 183621 w 299774"/>
                <a:gd name="csY6" fmla="*/ 313615 h 313614"/>
                <a:gd name="csX7" fmla="*/ 61784 w 299774"/>
                <a:gd name="csY7" fmla="*/ 20265 h 313614"/>
                <a:gd name="csX8" fmla="*/ 61784 w 299774"/>
                <a:gd name="csY8" fmla="*/ 313615 h 313614"/>
                <a:gd name="csX9" fmla="*/ 0 w 299774"/>
                <a:gd name="csY9" fmla="*/ 313615 h 313614"/>
                <a:gd name="csX10" fmla="*/ 0 w 299774"/>
                <a:gd name="csY10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99774" h="313614">
                  <a:moveTo>
                    <a:pt x="0" y="0"/>
                  </a:moveTo>
                  <a:lnTo>
                    <a:pt x="116153" y="0"/>
                  </a:lnTo>
                  <a:lnTo>
                    <a:pt x="237991" y="293349"/>
                  </a:lnTo>
                  <a:lnTo>
                    <a:pt x="237991" y="0"/>
                  </a:lnTo>
                  <a:lnTo>
                    <a:pt x="299775" y="0"/>
                  </a:lnTo>
                  <a:lnTo>
                    <a:pt x="299775" y="313615"/>
                  </a:lnTo>
                  <a:lnTo>
                    <a:pt x="183621" y="313615"/>
                  </a:lnTo>
                  <a:lnTo>
                    <a:pt x="61784" y="20265"/>
                  </a:lnTo>
                  <a:lnTo>
                    <a:pt x="61784" y="313615"/>
                  </a:lnTo>
                  <a:lnTo>
                    <a:pt x="0" y="3136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8338D2D-5D9A-6E6B-E039-176472DA8C8A}"/>
                </a:ext>
              </a:extLst>
            </p:cNvPr>
            <p:cNvSpPr/>
            <p:nvPr/>
          </p:nvSpPr>
          <p:spPr>
            <a:xfrm>
              <a:off x="3531327" y="8705184"/>
              <a:ext cx="235024" cy="313861"/>
            </a:xfrm>
            <a:custGeom>
              <a:avLst/>
              <a:gdLst>
                <a:gd name="csX0" fmla="*/ 0 w 235025"/>
                <a:gd name="csY0" fmla="*/ 0 h 313861"/>
                <a:gd name="csX1" fmla="*/ 235026 w 235025"/>
                <a:gd name="csY1" fmla="*/ 0 h 313861"/>
                <a:gd name="csX2" fmla="*/ 235026 w 235025"/>
                <a:gd name="csY2" fmla="*/ 53875 h 313861"/>
                <a:gd name="csX3" fmla="*/ 62278 w 235025"/>
                <a:gd name="csY3" fmla="*/ 53875 h 313861"/>
                <a:gd name="csX4" fmla="*/ 62278 w 235025"/>
                <a:gd name="csY4" fmla="*/ 130982 h 313861"/>
                <a:gd name="csX5" fmla="*/ 212783 w 235025"/>
                <a:gd name="csY5" fmla="*/ 130982 h 313861"/>
                <a:gd name="csX6" fmla="*/ 212783 w 235025"/>
                <a:gd name="csY6" fmla="*/ 182633 h 313861"/>
                <a:gd name="csX7" fmla="*/ 62278 w 235025"/>
                <a:gd name="csY7" fmla="*/ 182633 h 313861"/>
                <a:gd name="csX8" fmla="*/ 62278 w 235025"/>
                <a:gd name="csY8" fmla="*/ 259986 h 313861"/>
                <a:gd name="csX9" fmla="*/ 235026 w 235025"/>
                <a:gd name="csY9" fmla="*/ 259986 h 313861"/>
                <a:gd name="csX10" fmla="*/ 235026 w 235025"/>
                <a:gd name="csY10" fmla="*/ 313862 h 313861"/>
                <a:gd name="csX11" fmla="*/ 0 w 235025"/>
                <a:gd name="csY11" fmla="*/ 313862 h 313861"/>
                <a:gd name="csX12" fmla="*/ 0 w 235025"/>
                <a:gd name="csY12" fmla="*/ 0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5025" h="313861">
                  <a:moveTo>
                    <a:pt x="0" y="0"/>
                  </a:moveTo>
                  <a:lnTo>
                    <a:pt x="235026" y="0"/>
                  </a:lnTo>
                  <a:lnTo>
                    <a:pt x="235026" y="53875"/>
                  </a:lnTo>
                  <a:lnTo>
                    <a:pt x="62278" y="53875"/>
                  </a:lnTo>
                  <a:lnTo>
                    <a:pt x="62278" y="130982"/>
                  </a:lnTo>
                  <a:lnTo>
                    <a:pt x="212783" y="130982"/>
                  </a:lnTo>
                  <a:lnTo>
                    <a:pt x="212783" y="182633"/>
                  </a:lnTo>
                  <a:lnTo>
                    <a:pt x="62278" y="182633"/>
                  </a:lnTo>
                  <a:lnTo>
                    <a:pt x="62278" y="259986"/>
                  </a:lnTo>
                  <a:lnTo>
                    <a:pt x="235026" y="259986"/>
                  </a:lnTo>
                  <a:lnTo>
                    <a:pt x="235026" y="313862"/>
                  </a:lnTo>
                  <a:lnTo>
                    <a:pt x="0" y="313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B1433D9-A181-6FF3-F3A0-FB0C9C5D8346}"/>
                </a:ext>
              </a:extLst>
            </p:cNvPr>
            <p:cNvSpPr/>
            <p:nvPr/>
          </p:nvSpPr>
          <p:spPr>
            <a:xfrm>
              <a:off x="3837776" y="8705184"/>
              <a:ext cx="262210" cy="313861"/>
            </a:xfrm>
            <a:custGeom>
              <a:avLst/>
              <a:gdLst>
                <a:gd name="csX0" fmla="*/ 0 w 262210"/>
                <a:gd name="csY0" fmla="*/ 0 h 313861"/>
                <a:gd name="csX1" fmla="*/ 128263 w 262210"/>
                <a:gd name="csY1" fmla="*/ 0 h 313861"/>
                <a:gd name="csX2" fmla="*/ 260480 w 262210"/>
                <a:gd name="csY2" fmla="*/ 84520 h 313861"/>
                <a:gd name="csX3" fmla="*/ 199191 w 262210"/>
                <a:gd name="csY3" fmla="*/ 163851 h 313861"/>
                <a:gd name="csX4" fmla="*/ 216490 w 262210"/>
                <a:gd name="csY4" fmla="*/ 163851 h 313861"/>
                <a:gd name="csX5" fmla="*/ 262210 w 262210"/>
                <a:gd name="csY5" fmla="*/ 208829 h 313861"/>
                <a:gd name="csX6" fmla="*/ 262210 w 262210"/>
                <a:gd name="csY6" fmla="*/ 313862 h 313861"/>
                <a:gd name="csX7" fmla="*/ 200921 w 262210"/>
                <a:gd name="csY7" fmla="*/ 313862 h 313861"/>
                <a:gd name="csX8" fmla="*/ 200921 w 262210"/>
                <a:gd name="csY8" fmla="*/ 198944 h 313861"/>
                <a:gd name="csX9" fmla="*/ 62525 w 262210"/>
                <a:gd name="csY9" fmla="*/ 198944 h 313861"/>
                <a:gd name="csX10" fmla="*/ 62525 w 262210"/>
                <a:gd name="csY10" fmla="*/ 313862 h 313861"/>
                <a:gd name="csX11" fmla="*/ 247 w 262210"/>
                <a:gd name="csY11" fmla="*/ 313862 h 313861"/>
                <a:gd name="csX12" fmla="*/ 247 w 262210"/>
                <a:gd name="csY12" fmla="*/ 0 h 313861"/>
                <a:gd name="csX13" fmla="*/ 128263 w 262210"/>
                <a:gd name="csY13" fmla="*/ 145563 h 313861"/>
                <a:gd name="csX14" fmla="*/ 198450 w 262210"/>
                <a:gd name="csY14" fmla="*/ 99843 h 313861"/>
                <a:gd name="csX15" fmla="*/ 128263 w 262210"/>
                <a:gd name="csY15" fmla="*/ 53875 h 313861"/>
                <a:gd name="csX16" fmla="*/ 62278 w 262210"/>
                <a:gd name="csY16" fmla="*/ 53875 h 313861"/>
                <a:gd name="csX17" fmla="*/ 62278 w 262210"/>
                <a:gd name="csY17" fmla="*/ 145563 h 313861"/>
                <a:gd name="csX18" fmla="*/ 128263 w 262210"/>
                <a:gd name="csY18" fmla="*/ 145563 h 31386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262210" h="313861">
                  <a:moveTo>
                    <a:pt x="0" y="0"/>
                  </a:moveTo>
                  <a:lnTo>
                    <a:pt x="128263" y="0"/>
                  </a:lnTo>
                  <a:cubicBezTo>
                    <a:pt x="200427" y="0"/>
                    <a:pt x="260480" y="15075"/>
                    <a:pt x="260480" y="84520"/>
                  </a:cubicBezTo>
                  <a:cubicBezTo>
                    <a:pt x="260480" y="133453"/>
                    <a:pt x="232554" y="156189"/>
                    <a:pt x="199191" y="163851"/>
                  </a:cubicBezTo>
                  <a:lnTo>
                    <a:pt x="216490" y="163851"/>
                  </a:lnTo>
                  <a:cubicBezTo>
                    <a:pt x="250842" y="163851"/>
                    <a:pt x="262210" y="185351"/>
                    <a:pt x="262210" y="208829"/>
                  </a:cubicBezTo>
                  <a:lnTo>
                    <a:pt x="262210" y="313862"/>
                  </a:lnTo>
                  <a:lnTo>
                    <a:pt x="200921" y="313862"/>
                  </a:lnTo>
                  <a:lnTo>
                    <a:pt x="200921" y="198944"/>
                  </a:lnTo>
                  <a:lnTo>
                    <a:pt x="62525" y="198944"/>
                  </a:lnTo>
                  <a:lnTo>
                    <a:pt x="62525" y="313862"/>
                  </a:lnTo>
                  <a:lnTo>
                    <a:pt x="247" y="313862"/>
                  </a:lnTo>
                  <a:lnTo>
                    <a:pt x="247" y="0"/>
                  </a:lnTo>
                  <a:close/>
                  <a:moveTo>
                    <a:pt x="128263" y="145563"/>
                  </a:moveTo>
                  <a:cubicBezTo>
                    <a:pt x="171017" y="145563"/>
                    <a:pt x="198450" y="142103"/>
                    <a:pt x="198450" y="99843"/>
                  </a:cubicBezTo>
                  <a:cubicBezTo>
                    <a:pt x="198450" y="57582"/>
                    <a:pt x="170029" y="53875"/>
                    <a:pt x="128263" y="53875"/>
                  </a:cubicBezTo>
                  <a:lnTo>
                    <a:pt x="62278" y="53875"/>
                  </a:lnTo>
                  <a:lnTo>
                    <a:pt x="62278" y="145563"/>
                  </a:lnTo>
                  <a:lnTo>
                    <a:pt x="128263" y="145563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0D434DA-8899-9C78-4573-6D73C59D8803}"/>
                </a:ext>
              </a:extLst>
            </p:cNvPr>
            <p:cNvSpPr/>
            <p:nvPr/>
          </p:nvSpPr>
          <p:spPr>
            <a:xfrm>
              <a:off x="4163995" y="8699501"/>
              <a:ext cx="313861" cy="324735"/>
            </a:xfrm>
            <a:custGeom>
              <a:avLst/>
              <a:gdLst>
                <a:gd name="csX0" fmla="*/ 0 w 313861"/>
                <a:gd name="csY0" fmla="*/ 165086 h 324735"/>
                <a:gd name="csX1" fmla="*/ 155695 w 313861"/>
                <a:gd name="csY1" fmla="*/ 0 h 324735"/>
                <a:gd name="csX2" fmla="*/ 304718 w 313861"/>
                <a:gd name="csY2" fmla="*/ 117883 h 324735"/>
                <a:gd name="csX3" fmla="*/ 241204 w 313861"/>
                <a:gd name="csY3" fmla="*/ 117883 h 324735"/>
                <a:gd name="csX4" fmla="*/ 158908 w 313861"/>
                <a:gd name="csY4" fmla="*/ 53381 h 324735"/>
                <a:gd name="csX5" fmla="*/ 63761 w 313861"/>
                <a:gd name="csY5" fmla="*/ 165086 h 324735"/>
                <a:gd name="csX6" fmla="*/ 160638 w 313861"/>
                <a:gd name="csY6" fmla="*/ 271107 h 324735"/>
                <a:gd name="csX7" fmla="*/ 251089 w 313861"/>
                <a:gd name="csY7" fmla="*/ 193754 h 324735"/>
                <a:gd name="csX8" fmla="*/ 153718 w 313861"/>
                <a:gd name="csY8" fmla="*/ 193754 h 324735"/>
                <a:gd name="csX9" fmla="*/ 153718 w 313861"/>
                <a:gd name="csY9" fmla="*/ 146551 h 324735"/>
                <a:gd name="csX10" fmla="*/ 278274 w 313861"/>
                <a:gd name="csY10" fmla="*/ 146551 h 324735"/>
                <a:gd name="csX11" fmla="*/ 313862 w 313861"/>
                <a:gd name="csY11" fmla="*/ 181150 h 324735"/>
                <a:gd name="csX12" fmla="*/ 313862 w 313861"/>
                <a:gd name="csY12" fmla="*/ 319546 h 324735"/>
                <a:gd name="csX13" fmla="*/ 252078 w 313861"/>
                <a:gd name="csY13" fmla="*/ 319546 h 324735"/>
                <a:gd name="csX14" fmla="*/ 252078 w 313861"/>
                <a:gd name="csY14" fmla="*/ 265670 h 324735"/>
                <a:gd name="csX15" fmla="*/ 146057 w 313861"/>
                <a:gd name="csY15" fmla="*/ 324736 h 324735"/>
                <a:gd name="csX16" fmla="*/ 0 w 313861"/>
                <a:gd name="csY16" fmla="*/ 165086 h 324735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13861" h="324735">
                  <a:moveTo>
                    <a:pt x="0" y="165086"/>
                  </a:moveTo>
                  <a:cubicBezTo>
                    <a:pt x="0" y="64997"/>
                    <a:pt x="59560" y="0"/>
                    <a:pt x="155695" y="0"/>
                  </a:cubicBezTo>
                  <a:cubicBezTo>
                    <a:pt x="235767" y="0"/>
                    <a:pt x="294091" y="46214"/>
                    <a:pt x="304718" y="117883"/>
                  </a:cubicBezTo>
                  <a:lnTo>
                    <a:pt x="241204" y="117883"/>
                  </a:lnTo>
                  <a:cubicBezTo>
                    <a:pt x="235025" y="77848"/>
                    <a:pt x="203392" y="53381"/>
                    <a:pt x="158908" y="53381"/>
                  </a:cubicBezTo>
                  <a:cubicBezTo>
                    <a:pt x="97865" y="53381"/>
                    <a:pt x="63761" y="96877"/>
                    <a:pt x="63761" y="165086"/>
                  </a:cubicBezTo>
                  <a:cubicBezTo>
                    <a:pt x="63761" y="226129"/>
                    <a:pt x="91440" y="271107"/>
                    <a:pt x="160638" y="271107"/>
                  </a:cubicBezTo>
                  <a:cubicBezTo>
                    <a:pt x="217973" y="271107"/>
                    <a:pt x="251089" y="242192"/>
                    <a:pt x="251089" y="193754"/>
                  </a:cubicBezTo>
                  <a:lnTo>
                    <a:pt x="153718" y="193754"/>
                  </a:lnTo>
                  <a:lnTo>
                    <a:pt x="153718" y="146551"/>
                  </a:lnTo>
                  <a:lnTo>
                    <a:pt x="278274" y="146551"/>
                  </a:lnTo>
                  <a:cubicBezTo>
                    <a:pt x="301010" y="146551"/>
                    <a:pt x="313862" y="158661"/>
                    <a:pt x="313862" y="181150"/>
                  </a:cubicBezTo>
                  <a:lnTo>
                    <a:pt x="313862" y="319546"/>
                  </a:lnTo>
                  <a:lnTo>
                    <a:pt x="252078" y="319546"/>
                  </a:lnTo>
                  <a:lnTo>
                    <a:pt x="252078" y="265670"/>
                  </a:lnTo>
                  <a:cubicBezTo>
                    <a:pt x="240462" y="291125"/>
                    <a:pt x="212042" y="324736"/>
                    <a:pt x="146057" y="324736"/>
                  </a:cubicBezTo>
                  <a:cubicBezTo>
                    <a:pt x="51651" y="324736"/>
                    <a:pt x="0" y="258751"/>
                    <a:pt x="0" y="165086"/>
                  </a:cubicBez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DF4A515-AEDE-7607-6985-7E0A24EC044A}"/>
                </a:ext>
              </a:extLst>
            </p:cNvPr>
            <p:cNvSpPr/>
            <p:nvPr/>
          </p:nvSpPr>
          <p:spPr>
            <a:xfrm>
              <a:off x="4505288" y="8705184"/>
              <a:ext cx="293102" cy="313613"/>
            </a:xfrm>
            <a:custGeom>
              <a:avLst/>
              <a:gdLst>
                <a:gd name="csX0" fmla="*/ 293102 w 293102"/>
                <a:gd name="csY0" fmla="*/ 0 h 313614"/>
                <a:gd name="csX1" fmla="*/ 198697 w 293102"/>
                <a:gd name="csY1" fmla="*/ 187328 h 313614"/>
                <a:gd name="csX2" fmla="*/ 176949 w 293102"/>
                <a:gd name="csY2" fmla="*/ 187328 h 313614"/>
                <a:gd name="csX3" fmla="*/ 176949 w 293102"/>
                <a:gd name="csY3" fmla="*/ 313615 h 313614"/>
                <a:gd name="csX4" fmla="*/ 115165 w 293102"/>
                <a:gd name="csY4" fmla="*/ 313615 h 313614"/>
                <a:gd name="csX5" fmla="*/ 115165 w 293102"/>
                <a:gd name="csY5" fmla="*/ 187328 h 313614"/>
                <a:gd name="csX6" fmla="*/ 93417 w 293102"/>
                <a:gd name="csY6" fmla="*/ 187328 h 313614"/>
                <a:gd name="csX7" fmla="*/ 0 w 293102"/>
                <a:gd name="csY7" fmla="*/ 0 h 313614"/>
                <a:gd name="csX8" fmla="*/ 65738 w 293102"/>
                <a:gd name="csY8" fmla="*/ 0 h 313614"/>
                <a:gd name="csX9" fmla="*/ 146304 w 293102"/>
                <a:gd name="csY9" fmla="*/ 170523 h 313614"/>
                <a:gd name="csX10" fmla="*/ 226870 w 293102"/>
                <a:gd name="csY10" fmla="*/ 0 h 313614"/>
                <a:gd name="csX11" fmla="*/ 293102 w 293102"/>
                <a:gd name="csY11" fmla="*/ 0 h 313614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</a:cxnLst>
              <a:rect l="l" t="t" r="r" b="b"/>
              <a:pathLst>
                <a:path w="293102" h="313614">
                  <a:moveTo>
                    <a:pt x="293102" y="0"/>
                  </a:moveTo>
                  <a:lnTo>
                    <a:pt x="198697" y="187328"/>
                  </a:lnTo>
                  <a:lnTo>
                    <a:pt x="176949" y="187328"/>
                  </a:lnTo>
                  <a:lnTo>
                    <a:pt x="176949" y="313615"/>
                  </a:lnTo>
                  <a:lnTo>
                    <a:pt x="115165" y="313615"/>
                  </a:lnTo>
                  <a:lnTo>
                    <a:pt x="115165" y="187328"/>
                  </a:lnTo>
                  <a:lnTo>
                    <a:pt x="93417" y="187328"/>
                  </a:lnTo>
                  <a:lnTo>
                    <a:pt x="0" y="0"/>
                  </a:lnTo>
                  <a:lnTo>
                    <a:pt x="65738" y="0"/>
                  </a:lnTo>
                  <a:lnTo>
                    <a:pt x="146304" y="170523"/>
                  </a:lnTo>
                  <a:lnTo>
                    <a:pt x="226870" y="0"/>
                  </a:lnTo>
                  <a:lnTo>
                    <a:pt x="293102" y="0"/>
                  </a:lnTo>
                  <a:close/>
                </a:path>
              </a:pathLst>
            </a:custGeom>
            <a:solidFill>
              <a:schemeClr val="bg1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F2DB8D-D7FA-676F-E5BE-20C4B5C94B7E}"/>
                </a:ext>
              </a:extLst>
            </p:cNvPr>
            <p:cNvSpPr/>
            <p:nvPr/>
          </p:nvSpPr>
          <p:spPr>
            <a:xfrm>
              <a:off x="560168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6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1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6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1" y="125050"/>
                  </a:lnTo>
                  <a:cubicBezTo>
                    <a:pt x="229341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11B40F1-0B55-3E7E-0D9F-42B4934770BD}"/>
                </a:ext>
              </a:extLst>
            </p:cNvPr>
            <p:cNvSpPr/>
            <p:nvPr/>
          </p:nvSpPr>
          <p:spPr>
            <a:xfrm>
              <a:off x="94075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9 w 352414"/>
                <a:gd name="csY4" fmla="*/ 71175 h 361311"/>
                <a:gd name="csX5" fmla="*/ 81555 w 352414"/>
                <a:gd name="csY5" fmla="*/ 180409 h 361311"/>
                <a:gd name="csX6" fmla="*/ 180409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6" y="71175"/>
                    <a:pt x="180409" y="71175"/>
                  </a:cubicBezTo>
                  <a:cubicBezTo>
                    <a:pt x="121096" y="71175"/>
                    <a:pt x="81555" y="108739"/>
                    <a:pt x="81555" y="180409"/>
                  </a:cubicBezTo>
                  <a:cubicBezTo>
                    <a:pt x="81555" y="252078"/>
                    <a:pt x="121096" y="289642"/>
                    <a:pt x="180409" y="289642"/>
                  </a:cubicBezTo>
                  <a:cubicBezTo>
                    <a:pt x="229836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FD9C22-A20D-EF08-6557-565EAD49FEA1}"/>
                </a:ext>
              </a:extLst>
            </p:cNvPr>
            <p:cNvSpPr/>
            <p:nvPr/>
          </p:nvSpPr>
          <p:spPr>
            <a:xfrm>
              <a:off x="13643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4FA3421-915C-38CC-DB34-9EB484C23995}"/>
                </a:ext>
              </a:extLst>
            </p:cNvPr>
            <p:cNvSpPr/>
            <p:nvPr/>
          </p:nvSpPr>
          <p:spPr>
            <a:xfrm>
              <a:off x="1759267" y="9180837"/>
              <a:ext cx="356863" cy="361311"/>
            </a:xfrm>
            <a:custGeom>
              <a:avLst/>
              <a:gdLst>
                <a:gd name="csX0" fmla="*/ 178926 w 356863"/>
                <a:gd name="csY0" fmla="*/ 0 h 361311"/>
                <a:gd name="csX1" fmla="*/ 356863 w 356863"/>
                <a:gd name="csY1" fmla="*/ 180409 h 361311"/>
                <a:gd name="csX2" fmla="*/ 178926 w 356863"/>
                <a:gd name="csY2" fmla="*/ 361312 h 361311"/>
                <a:gd name="csX3" fmla="*/ 0 w 356863"/>
                <a:gd name="csY3" fmla="*/ 180409 h 361311"/>
                <a:gd name="csX4" fmla="*/ 178926 w 356863"/>
                <a:gd name="csY4" fmla="*/ 0 h 361311"/>
                <a:gd name="csX5" fmla="*/ 178926 w 356863"/>
                <a:gd name="csY5" fmla="*/ 289890 h 361311"/>
                <a:gd name="csX6" fmla="*/ 275309 w 356863"/>
                <a:gd name="csY6" fmla="*/ 180656 h 361311"/>
                <a:gd name="csX7" fmla="*/ 178926 w 356863"/>
                <a:gd name="csY7" fmla="*/ 71422 h 361311"/>
                <a:gd name="csX8" fmla="*/ 81555 w 356863"/>
                <a:gd name="csY8" fmla="*/ 180656 h 361311"/>
                <a:gd name="csX9" fmla="*/ 178926 w 356863"/>
                <a:gd name="csY9" fmla="*/ 289890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356863" h="361311">
                  <a:moveTo>
                    <a:pt x="178926" y="0"/>
                  </a:moveTo>
                  <a:cubicBezTo>
                    <a:pt x="289642" y="0"/>
                    <a:pt x="356863" y="78095"/>
                    <a:pt x="356863" y="180409"/>
                  </a:cubicBezTo>
                  <a:cubicBezTo>
                    <a:pt x="356863" y="282723"/>
                    <a:pt x="289642" y="361312"/>
                    <a:pt x="178926" y="361312"/>
                  </a:cubicBezTo>
                  <a:cubicBezTo>
                    <a:pt x="68209" y="361312"/>
                    <a:pt x="0" y="283217"/>
                    <a:pt x="0" y="180409"/>
                  </a:cubicBezTo>
                  <a:cubicBezTo>
                    <a:pt x="0" y="77600"/>
                    <a:pt x="67715" y="0"/>
                    <a:pt x="178926" y="0"/>
                  </a:cubicBezTo>
                  <a:close/>
                  <a:moveTo>
                    <a:pt x="178926" y="289890"/>
                  </a:moveTo>
                  <a:cubicBezTo>
                    <a:pt x="243675" y="289890"/>
                    <a:pt x="275309" y="248371"/>
                    <a:pt x="275309" y="180656"/>
                  </a:cubicBezTo>
                  <a:cubicBezTo>
                    <a:pt x="275309" y="112941"/>
                    <a:pt x="243181" y="71422"/>
                    <a:pt x="178926" y="71422"/>
                  </a:cubicBezTo>
                  <a:cubicBezTo>
                    <a:pt x="114671" y="71422"/>
                    <a:pt x="81555" y="113435"/>
                    <a:pt x="81555" y="180656"/>
                  </a:cubicBezTo>
                  <a:cubicBezTo>
                    <a:pt x="81555" y="247877"/>
                    <a:pt x="114176" y="289890"/>
                    <a:pt x="178926" y="289890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DB4352B-7903-0503-EB5F-348B5427D46B}"/>
                </a:ext>
              </a:extLst>
            </p:cNvPr>
            <p:cNvSpPr/>
            <p:nvPr/>
          </p:nvSpPr>
          <p:spPr>
            <a:xfrm>
              <a:off x="2188788" y="9187510"/>
              <a:ext cx="248617" cy="348460"/>
            </a:xfrm>
            <a:custGeom>
              <a:avLst/>
              <a:gdLst>
                <a:gd name="csX0" fmla="*/ 0 w 248617"/>
                <a:gd name="csY0" fmla="*/ 306448 h 348460"/>
                <a:gd name="csX1" fmla="*/ 0 w 248617"/>
                <a:gd name="csY1" fmla="*/ 0 h 348460"/>
                <a:gd name="csX2" fmla="*/ 79083 w 248617"/>
                <a:gd name="csY2" fmla="*/ 0 h 348460"/>
                <a:gd name="csX3" fmla="*/ 79083 w 248617"/>
                <a:gd name="csY3" fmla="*/ 278768 h 348460"/>
                <a:gd name="csX4" fmla="*/ 248618 w 248617"/>
                <a:gd name="csY4" fmla="*/ 278768 h 348460"/>
                <a:gd name="csX5" fmla="*/ 248618 w 248617"/>
                <a:gd name="csY5" fmla="*/ 348461 h 348460"/>
                <a:gd name="csX6" fmla="*/ 42507 w 248617"/>
                <a:gd name="csY6" fmla="*/ 348461 h 348460"/>
                <a:gd name="csX7" fmla="*/ 0 w 248617"/>
                <a:gd name="csY7" fmla="*/ 306448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</a:cxnLst>
              <a:rect l="l" t="t" r="r" b="b"/>
              <a:pathLst>
                <a:path w="248617" h="348460">
                  <a:moveTo>
                    <a:pt x="0" y="306448"/>
                  </a:moveTo>
                  <a:lnTo>
                    <a:pt x="0" y="0"/>
                  </a:lnTo>
                  <a:lnTo>
                    <a:pt x="79083" y="0"/>
                  </a:lnTo>
                  <a:lnTo>
                    <a:pt x="79083" y="278768"/>
                  </a:lnTo>
                  <a:lnTo>
                    <a:pt x="248618" y="278768"/>
                  </a:lnTo>
                  <a:lnTo>
                    <a:pt x="248618" y="348461"/>
                  </a:lnTo>
                  <a:lnTo>
                    <a:pt x="42507" y="348461"/>
                  </a:lnTo>
                  <a:cubicBezTo>
                    <a:pt x="15322" y="348461"/>
                    <a:pt x="0" y="334127"/>
                    <a:pt x="0" y="306448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BD8B2F2-BDCB-2B35-F3A0-3F3C3D4D1C57}"/>
                </a:ext>
              </a:extLst>
            </p:cNvPr>
            <p:cNvSpPr/>
            <p:nvPr/>
          </p:nvSpPr>
          <p:spPr>
            <a:xfrm>
              <a:off x="2485350" y="9187263"/>
              <a:ext cx="370702" cy="348460"/>
            </a:xfrm>
            <a:custGeom>
              <a:avLst/>
              <a:gdLst>
                <a:gd name="csX0" fmla="*/ 113188 w 370702"/>
                <a:gd name="csY0" fmla="*/ 0 h 348460"/>
                <a:gd name="csX1" fmla="*/ 258009 w 370702"/>
                <a:gd name="csY1" fmla="*/ 0 h 348460"/>
                <a:gd name="csX2" fmla="*/ 370703 w 370702"/>
                <a:gd name="csY2" fmla="*/ 348461 h 348460"/>
                <a:gd name="csX3" fmla="*/ 286677 w 370702"/>
                <a:gd name="csY3" fmla="*/ 348461 h 348460"/>
                <a:gd name="csX4" fmla="*/ 251089 w 370702"/>
                <a:gd name="csY4" fmla="*/ 236756 h 348460"/>
                <a:gd name="csX5" fmla="*/ 118131 w 370702"/>
                <a:gd name="csY5" fmla="*/ 236756 h 348460"/>
                <a:gd name="csX6" fmla="*/ 82543 w 370702"/>
                <a:gd name="csY6" fmla="*/ 348461 h 348460"/>
                <a:gd name="csX7" fmla="*/ 0 w 370702"/>
                <a:gd name="csY7" fmla="*/ 348461 h 348460"/>
                <a:gd name="csX8" fmla="*/ 113188 w 370702"/>
                <a:gd name="csY8" fmla="*/ 0 h 348460"/>
                <a:gd name="csX9" fmla="*/ 229341 w 370702"/>
                <a:gd name="csY9" fmla="*/ 167805 h 348460"/>
                <a:gd name="csX10" fmla="*/ 184857 w 370702"/>
                <a:gd name="csY10" fmla="*/ 28915 h 348460"/>
                <a:gd name="csX11" fmla="*/ 140373 w 370702"/>
                <a:gd name="csY11" fmla="*/ 167805 h 348460"/>
                <a:gd name="csX12" fmla="*/ 229341 w 370702"/>
                <a:gd name="csY12" fmla="*/ 167805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70702" h="348460">
                  <a:moveTo>
                    <a:pt x="113188" y="0"/>
                  </a:moveTo>
                  <a:lnTo>
                    <a:pt x="258009" y="0"/>
                  </a:lnTo>
                  <a:lnTo>
                    <a:pt x="370703" y="348461"/>
                  </a:lnTo>
                  <a:lnTo>
                    <a:pt x="286677" y="348461"/>
                  </a:lnTo>
                  <a:lnTo>
                    <a:pt x="251089" y="236756"/>
                  </a:lnTo>
                  <a:lnTo>
                    <a:pt x="118131" y="236756"/>
                  </a:lnTo>
                  <a:lnTo>
                    <a:pt x="82543" y="348461"/>
                  </a:lnTo>
                  <a:lnTo>
                    <a:pt x="0" y="348461"/>
                  </a:lnTo>
                  <a:lnTo>
                    <a:pt x="113188" y="0"/>
                  </a:lnTo>
                  <a:close/>
                  <a:moveTo>
                    <a:pt x="229341" y="167805"/>
                  </a:moveTo>
                  <a:lnTo>
                    <a:pt x="184857" y="28915"/>
                  </a:lnTo>
                  <a:lnTo>
                    <a:pt x="140373" y="167805"/>
                  </a:lnTo>
                  <a:lnTo>
                    <a:pt x="229341" y="167805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9C8FF39-435B-4F41-63BF-6AA84B7272F2}"/>
                </a:ext>
              </a:extLst>
            </p:cNvPr>
            <p:cNvSpPr/>
            <p:nvPr/>
          </p:nvSpPr>
          <p:spPr>
            <a:xfrm>
              <a:off x="2908940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69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0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69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0" y="154459"/>
                    <a:pt x="219950" y="113435"/>
                  </a:cubicBezTo>
                  <a:cubicBezTo>
                    <a:pt x="219950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C1ED4E4-F8A5-A20B-6AD4-BB9391F6ED43}"/>
                </a:ext>
              </a:extLst>
            </p:cNvPr>
            <p:cNvSpPr/>
            <p:nvPr/>
          </p:nvSpPr>
          <p:spPr>
            <a:xfrm>
              <a:off x="3274700" y="9181084"/>
              <a:ext cx="323252" cy="361311"/>
            </a:xfrm>
            <a:custGeom>
              <a:avLst/>
              <a:gdLst>
                <a:gd name="csX0" fmla="*/ 171512 w 323252"/>
                <a:gd name="csY0" fmla="*/ 361312 h 361311"/>
                <a:gd name="csX1" fmla="*/ 0 w 323252"/>
                <a:gd name="csY1" fmla="*/ 220445 h 361311"/>
                <a:gd name="csX2" fmla="*/ 81555 w 323252"/>
                <a:gd name="csY2" fmla="*/ 220445 h 361311"/>
                <a:gd name="csX3" fmla="*/ 173489 w 323252"/>
                <a:gd name="csY3" fmla="*/ 295079 h 361311"/>
                <a:gd name="csX4" fmla="*/ 241698 w 323252"/>
                <a:gd name="csY4" fmla="*/ 258009 h 361311"/>
                <a:gd name="csX5" fmla="*/ 205617 w 323252"/>
                <a:gd name="csY5" fmla="*/ 223904 h 361311"/>
                <a:gd name="csX6" fmla="*/ 93417 w 323252"/>
                <a:gd name="csY6" fmla="*/ 194248 h 361311"/>
                <a:gd name="csX7" fmla="*/ 14828 w 323252"/>
                <a:gd name="csY7" fmla="*/ 100831 h 361311"/>
                <a:gd name="csX8" fmla="*/ 152235 w 323252"/>
                <a:gd name="csY8" fmla="*/ 0 h 361311"/>
                <a:gd name="csX9" fmla="*/ 310896 w 323252"/>
                <a:gd name="csY9" fmla="*/ 125050 h 361311"/>
                <a:gd name="csX10" fmla="*/ 229342 w 323252"/>
                <a:gd name="csY10" fmla="*/ 125050 h 361311"/>
                <a:gd name="csX11" fmla="*/ 153224 w 323252"/>
                <a:gd name="csY11" fmla="*/ 65244 h 361311"/>
                <a:gd name="csX12" fmla="*/ 96383 w 323252"/>
                <a:gd name="csY12" fmla="*/ 99348 h 361311"/>
                <a:gd name="csX13" fmla="*/ 129499 w 323252"/>
                <a:gd name="csY13" fmla="*/ 129993 h 361311"/>
                <a:gd name="csX14" fmla="*/ 239227 w 323252"/>
                <a:gd name="csY14" fmla="*/ 157178 h 361311"/>
                <a:gd name="csX15" fmla="*/ 323253 w 323252"/>
                <a:gd name="csY15" fmla="*/ 254549 h 361311"/>
                <a:gd name="csX16" fmla="*/ 171512 w 323252"/>
                <a:gd name="csY16" fmla="*/ 361312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</a:cxnLst>
              <a:rect l="l" t="t" r="r" b="b"/>
              <a:pathLst>
                <a:path w="323252" h="361311">
                  <a:moveTo>
                    <a:pt x="171512" y="361312"/>
                  </a:moveTo>
                  <a:cubicBezTo>
                    <a:pt x="52393" y="361312"/>
                    <a:pt x="0" y="309907"/>
                    <a:pt x="0" y="220445"/>
                  </a:cubicBezTo>
                  <a:lnTo>
                    <a:pt x="81555" y="220445"/>
                  </a:lnTo>
                  <a:cubicBezTo>
                    <a:pt x="81555" y="273332"/>
                    <a:pt x="105774" y="295079"/>
                    <a:pt x="173489" y="295079"/>
                  </a:cubicBezTo>
                  <a:cubicBezTo>
                    <a:pt x="221433" y="295079"/>
                    <a:pt x="241698" y="283711"/>
                    <a:pt x="241698" y="258009"/>
                  </a:cubicBezTo>
                  <a:cubicBezTo>
                    <a:pt x="241698" y="242192"/>
                    <a:pt x="230330" y="230330"/>
                    <a:pt x="205617" y="223904"/>
                  </a:cubicBezTo>
                  <a:lnTo>
                    <a:pt x="93417" y="194248"/>
                  </a:lnTo>
                  <a:cubicBezTo>
                    <a:pt x="34599" y="178926"/>
                    <a:pt x="14828" y="144327"/>
                    <a:pt x="14828" y="100831"/>
                  </a:cubicBezTo>
                  <a:cubicBezTo>
                    <a:pt x="14828" y="35093"/>
                    <a:pt x="63761" y="0"/>
                    <a:pt x="152235" y="0"/>
                  </a:cubicBezTo>
                  <a:cubicBezTo>
                    <a:pt x="258009" y="0"/>
                    <a:pt x="310896" y="49921"/>
                    <a:pt x="310896" y="125050"/>
                  </a:cubicBezTo>
                  <a:lnTo>
                    <a:pt x="229342" y="125050"/>
                  </a:lnTo>
                  <a:cubicBezTo>
                    <a:pt x="229342" y="83532"/>
                    <a:pt x="205122" y="65244"/>
                    <a:pt x="153224" y="65244"/>
                  </a:cubicBezTo>
                  <a:cubicBezTo>
                    <a:pt x="116154" y="65244"/>
                    <a:pt x="96383" y="75623"/>
                    <a:pt x="96383" y="99348"/>
                  </a:cubicBezTo>
                  <a:cubicBezTo>
                    <a:pt x="96383" y="112694"/>
                    <a:pt x="104291" y="123073"/>
                    <a:pt x="129499" y="129993"/>
                  </a:cubicBezTo>
                  <a:lnTo>
                    <a:pt x="239227" y="157178"/>
                  </a:lnTo>
                  <a:cubicBezTo>
                    <a:pt x="296068" y="171512"/>
                    <a:pt x="323253" y="204628"/>
                    <a:pt x="323253" y="254549"/>
                  </a:cubicBezTo>
                  <a:cubicBezTo>
                    <a:pt x="323253" y="319793"/>
                    <a:pt x="279263" y="361312"/>
                    <a:pt x="171512" y="361312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179D2E6-BC9D-E24E-C289-6F1126B32F44}"/>
                </a:ext>
              </a:extLst>
            </p:cNvPr>
            <p:cNvSpPr/>
            <p:nvPr/>
          </p:nvSpPr>
          <p:spPr>
            <a:xfrm>
              <a:off x="3667645" y="9187263"/>
              <a:ext cx="322264" cy="348460"/>
            </a:xfrm>
            <a:custGeom>
              <a:avLst/>
              <a:gdLst>
                <a:gd name="csX0" fmla="*/ 79083 w 322264"/>
                <a:gd name="csY0" fmla="*/ 0 h 348460"/>
                <a:gd name="csX1" fmla="*/ 79083 w 322264"/>
                <a:gd name="csY1" fmla="*/ 144327 h 348460"/>
                <a:gd name="csX2" fmla="*/ 242687 w 322264"/>
                <a:gd name="csY2" fmla="*/ 144327 h 348460"/>
                <a:gd name="csX3" fmla="*/ 242687 w 322264"/>
                <a:gd name="csY3" fmla="*/ 0 h 348460"/>
                <a:gd name="csX4" fmla="*/ 322264 w 322264"/>
                <a:gd name="csY4" fmla="*/ 0 h 348460"/>
                <a:gd name="csX5" fmla="*/ 322264 w 322264"/>
                <a:gd name="csY5" fmla="*/ 348461 h 348460"/>
                <a:gd name="csX6" fmla="*/ 242687 w 322264"/>
                <a:gd name="csY6" fmla="*/ 348461 h 348460"/>
                <a:gd name="csX7" fmla="*/ 242687 w 322264"/>
                <a:gd name="csY7" fmla="*/ 213525 h 348460"/>
                <a:gd name="csX8" fmla="*/ 79083 w 322264"/>
                <a:gd name="csY8" fmla="*/ 213525 h 348460"/>
                <a:gd name="csX9" fmla="*/ 79083 w 322264"/>
                <a:gd name="csY9" fmla="*/ 348461 h 348460"/>
                <a:gd name="csX10" fmla="*/ 0 w 322264"/>
                <a:gd name="csY10" fmla="*/ 348461 h 348460"/>
                <a:gd name="csX11" fmla="*/ 0 w 322264"/>
                <a:gd name="csY11" fmla="*/ 0 h 348460"/>
                <a:gd name="csX12" fmla="*/ 79083 w 322264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322264" h="348460">
                  <a:moveTo>
                    <a:pt x="79083" y="0"/>
                  </a:moveTo>
                  <a:lnTo>
                    <a:pt x="79083" y="144327"/>
                  </a:lnTo>
                  <a:lnTo>
                    <a:pt x="242687" y="144327"/>
                  </a:lnTo>
                  <a:lnTo>
                    <a:pt x="242687" y="0"/>
                  </a:lnTo>
                  <a:lnTo>
                    <a:pt x="322264" y="0"/>
                  </a:lnTo>
                  <a:lnTo>
                    <a:pt x="322264" y="348461"/>
                  </a:lnTo>
                  <a:lnTo>
                    <a:pt x="242687" y="348461"/>
                  </a:lnTo>
                  <a:lnTo>
                    <a:pt x="242687" y="213525"/>
                  </a:lnTo>
                  <a:lnTo>
                    <a:pt x="79083" y="213525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lnTo>
                    <a:pt x="79083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DA7A61-5F09-ED4C-4C3F-491BEB9B2638}"/>
                </a:ext>
              </a:extLst>
            </p:cNvPr>
            <p:cNvSpPr/>
            <p:nvPr/>
          </p:nvSpPr>
          <p:spPr>
            <a:xfrm>
              <a:off x="407047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C9725B8-D15B-8E24-5F61-D0663FBA3D89}"/>
                </a:ext>
              </a:extLst>
            </p:cNvPr>
            <p:cNvSpPr/>
            <p:nvPr/>
          </p:nvSpPr>
          <p:spPr>
            <a:xfrm>
              <a:off x="438878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9" y="179173"/>
                    <a:pt x="204628" y="167311"/>
                    <a:pt x="204628" y="124309"/>
                  </a:cubicBezTo>
                  <a:cubicBezTo>
                    <a:pt x="204628" y="81307"/>
                    <a:pt x="180409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1042831-6D4A-59C9-668D-5F4777F16B00}"/>
                </a:ext>
              </a:extLst>
            </p:cNvPr>
            <p:cNvSpPr/>
            <p:nvPr/>
          </p:nvSpPr>
          <p:spPr>
            <a:xfrm>
              <a:off x="4905792" y="9187263"/>
              <a:ext cx="301999" cy="348460"/>
            </a:xfrm>
            <a:custGeom>
              <a:avLst/>
              <a:gdLst>
                <a:gd name="csX0" fmla="*/ 0 w 301999"/>
                <a:gd name="csY0" fmla="*/ 0 h 348460"/>
                <a:gd name="csX1" fmla="*/ 147787 w 301999"/>
                <a:gd name="csY1" fmla="*/ 0 h 348460"/>
                <a:gd name="csX2" fmla="*/ 299034 w 301999"/>
                <a:gd name="csY2" fmla="*/ 93417 h 348460"/>
                <a:gd name="csX3" fmla="*/ 229341 w 301999"/>
                <a:gd name="csY3" fmla="*/ 180903 h 348460"/>
                <a:gd name="csX4" fmla="*/ 244170 w 301999"/>
                <a:gd name="csY4" fmla="*/ 180903 h 348460"/>
                <a:gd name="csX5" fmla="*/ 301999 w 301999"/>
                <a:gd name="csY5" fmla="*/ 237250 h 348460"/>
                <a:gd name="csX6" fmla="*/ 301999 w 301999"/>
                <a:gd name="csY6" fmla="*/ 348461 h 348460"/>
                <a:gd name="csX7" fmla="*/ 223410 w 301999"/>
                <a:gd name="csY7" fmla="*/ 348461 h 348460"/>
                <a:gd name="csX8" fmla="*/ 223410 w 301999"/>
                <a:gd name="csY8" fmla="*/ 225882 h 348460"/>
                <a:gd name="csX9" fmla="*/ 79578 w 301999"/>
                <a:gd name="csY9" fmla="*/ 225882 h 348460"/>
                <a:gd name="csX10" fmla="*/ 79578 w 301999"/>
                <a:gd name="csY10" fmla="*/ 348461 h 348460"/>
                <a:gd name="csX11" fmla="*/ 0 w 301999"/>
                <a:gd name="csY11" fmla="*/ 348461 h 348460"/>
                <a:gd name="csX12" fmla="*/ 0 w 301999"/>
                <a:gd name="csY12" fmla="*/ 0 h 348460"/>
                <a:gd name="csX13" fmla="*/ 147787 w 301999"/>
                <a:gd name="csY13" fmla="*/ 156931 h 348460"/>
                <a:gd name="csX14" fmla="*/ 219951 w 301999"/>
                <a:gd name="csY14" fmla="*/ 113435 h 348460"/>
                <a:gd name="csX15" fmla="*/ 147787 w 301999"/>
                <a:gd name="csY15" fmla="*/ 69445 h 348460"/>
                <a:gd name="csX16" fmla="*/ 79578 w 301999"/>
                <a:gd name="csY16" fmla="*/ 69445 h 348460"/>
                <a:gd name="csX17" fmla="*/ 79578 w 301999"/>
                <a:gd name="csY17" fmla="*/ 156931 h 348460"/>
                <a:gd name="csX18" fmla="*/ 147787 w 301999"/>
                <a:gd name="csY18" fmla="*/ 156931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</a:cxnLst>
              <a:rect l="l" t="t" r="r" b="b"/>
              <a:pathLst>
                <a:path w="301999" h="348460">
                  <a:moveTo>
                    <a:pt x="0" y="0"/>
                  </a:moveTo>
                  <a:lnTo>
                    <a:pt x="147787" y="0"/>
                  </a:lnTo>
                  <a:cubicBezTo>
                    <a:pt x="227364" y="0"/>
                    <a:pt x="299034" y="16311"/>
                    <a:pt x="299034" y="93417"/>
                  </a:cubicBezTo>
                  <a:cubicBezTo>
                    <a:pt x="299034" y="147787"/>
                    <a:pt x="265423" y="172995"/>
                    <a:pt x="229341" y="180903"/>
                  </a:cubicBezTo>
                  <a:lnTo>
                    <a:pt x="244170" y="180903"/>
                  </a:lnTo>
                  <a:cubicBezTo>
                    <a:pt x="287171" y="180903"/>
                    <a:pt x="301999" y="208088"/>
                    <a:pt x="301999" y="237250"/>
                  </a:cubicBezTo>
                  <a:lnTo>
                    <a:pt x="301999" y="348461"/>
                  </a:lnTo>
                  <a:lnTo>
                    <a:pt x="223410" y="348461"/>
                  </a:lnTo>
                  <a:lnTo>
                    <a:pt x="223410" y="225882"/>
                  </a:lnTo>
                  <a:lnTo>
                    <a:pt x="79578" y="225882"/>
                  </a:lnTo>
                  <a:lnTo>
                    <a:pt x="79578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47787" y="156931"/>
                  </a:moveTo>
                  <a:cubicBezTo>
                    <a:pt x="191283" y="156931"/>
                    <a:pt x="219951" y="154459"/>
                    <a:pt x="219951" y="113435"/>
                  </a:cubicBezTo>
                  <a:cubicBezTo>
                    <a:pt x="219951" y="72411"/>
                    <a:pt x="190294" y="69445"/>
                    <a:pt x="147787" y="69445"/>
                  </a:cubicBezTo>
                  <a:lnTo>
                    <a:pt x="79578" y="69445"/>
                  </a:lnTo>
                  <a:lnTo>
                    <a:pt x="79578" y="156931"/>
                  </a:lnTo>
                  <a:lnTo>
                    <a:pt x="147787" y="156931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0D4EF28-FB84-399A-80BD-2A880817995F}"/>
                </a:ext>
              </a:extLst>
            </p:cNvPr>
            <p:cNvSpPr/>
            <p:nvPr/>
          </p:nvSpPr>
          <p:spPr>
            <a:xfrm>
              <a:off x="5286874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7C90810-C70B-C363-3812-1558BB65D17F}"/>
                </a:ext>
              </a:extLst>
            </p:cNvPr>
            <p:cNvSpPr/>
            <p:nvPr/>
          </p:nvSpPr>
          <p:spPr>
            <a:xfrm>
              <a:off x="5611116" y="9181084"/>
              <a:ext cx="352414" cy="361311"/>
            </a:xfrm>
            <a:custGeom>
              <a:avLst/>
              <a:gdLst>
                <a:gd name="csX0" fmla="*/ 0 w 352414"/>
                <a:gd name="csY0" fmla="*/ 180409 h 361311"/>
                <a:gd name="csX1" fmla="*/ 179914 w 352414"/>
                <a:gd name="csY1" fmla="*/ 0 h 361311"/>
                <a:gd name="csX2" fmla="*/ 352415 w 352414"/>
                <a:gd name="csY2" fmla="*/ 140867 h 361311"/>
                <a:gd name="csX3" fmla="*/ 270860 w 352414"/>
                <a:gd name="csY3" fmla="*/ 140867 h 361311"/>
                <a:gd name="csX4" fmla="*/ 180408 w 352414"/>
                <a:gd name="csY4" fmla="*/ 71175 h 361311"/>
                <a:gd name="csX5" fmla="*/ 81554 w 352414"/>
                <a:gd name="csY5" fmla="*/ 180409 h 361311"/>
                <a:gd name="csX6" fmla="*/ 180408 w 352414"/>
                <a:gd name="csY6" fmla="*/ 289642 h 361311"/>
                <a:gd name="csX7" fmla="*/ 270860 w 352414"/>
                <a:gd name="csY7" fmla="*/ 219950 h 361311"/>
                <a:gd name="csX8" fmla="*/ 352415 w 352414"/>
                <a:gd name="csY8" fmla="*/ 219950 h 361311"/>
                <a:gd name="csX9" fmla="*/ 179914 w 352414"/>
                <a:gd name="csY9" fmla="*/ 361312 h 361311"/>
                <a:gd name="csX10" fmla="*/ 0 w 352414"/>
                <a:gd name="csY10" fmla="*/ 180409 h 361311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52414" h="361311">
                  <a:moveTo>
                    <a:pt x="0" y="180409"/>
                  </a:moveTo>
                  <a:cubicBezTo>
                    <a:pt x="0" y="78095"/>
                    <a:pt x="68704" y="0"/>
                    <a:pt x="179914" y="0"/>
                  </a:cubicBezTo>
                  <a:cubicBezTo>
                    <a:pt x="277780" y="0"/>
                    <a:pt x="342035" y="53875"/>
                    <a:pt x="352415" y="140867"/>
                  </a:cubicBezTo>
                  <a:lnTo>
                    <a:pt x="270860" y="140867"/>
                  </a:lnTo>
                  <a:cubicBezTo>
                    <a:pt x="263446" y="96877"/>
                    <a:pt x="229835" y="71175"/>
                    <a:pt x="180408" y="71175"/>
                  </a:cubicBezTo>
                  <a:cubicBezTo>
                    <a:pt x="121096" y="71175"/>
                    <a:pt x="81554" y="108739"/>
                    <a:pt x="81554" y="180409"/>
                  </a:cubicBezTo>
                  <a:cubicBezTo>
                    <a:pt x="81554" y="252078"/>
                    <a:pt x="121096" y="289642"/>
                    <a:pt x="180408" y="289642"/>
                  </a:cubicBezTo>
                  <a:cubicBezTo>
                    <a:pt x="229835" y="289642"/>
                    <a:pt x="263446" y="263940"/>
                    <a:pt x="270860" y="219950"/>
                  </a:cubicBezTo>
                  <a:lnTo>
                    <a:pt x="352415" y="219950"/>
                  </a:lnTo>
                  <a:cubicBezTo>
                    <a:pt x="342035" y="307436"/>
                    <a:pt x="277780" y="361312"/>
                    <a:pt x="179914" y="361312"/>
                  </a:cubicBezTo>
                  <a:cubicBezTo>
                    <a:pt x="68704" y="361312"/>
                    <a:pt x="0" y="283217"/>
                    <a:pt x="0" y="180409"/>
                  </a:cubicBez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48B78A0-7C81-FAE7-5ADD-3F7AC7E9898C}"/>
                </a:ext>
              </a:extLst>
            </p:cNvPr>
            <p:cNvSpPr/>
            <p:nvPr/>
          </p:nvSpPr>
          <p:spPr>
            <a:xfrm>
              <a:off x="6014935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6 w 237249"/>
                <a:gd name="csY2" fmla="*/ 69198 h 348460"/>
                <a:gd name="csX3" fmla="*/ 158166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3 w 237249"/>
                <a:gd name="csY8" fmla="*/ 278768 h 348460"/>
                <a:gd name="csX9" fmla="*/ 79083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6" y="69198"/>
                  </a:lnTo>
                  <a:lnTo>
                    <a:pt x="158166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3" y="278768"/>
                  </a:lnTo>
                  <a:lnTo>
                    <a:pt x="79083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4ADBF28-397B-D525-E993-147BA6A2FE9B}"/>
                </a:ext>
              </a:extLst>
            </p:cNvPr>
            <p:cNvSpPr/>
            <p:nvPr/>
          </p:nvSpPr>
          <p:spPr>
            <a:xfrm>
              <a:off x="6333245" y="9187263"/>
              <a:ext cx="283711" cy="348460"/>
            </a:xfrm>
            <a:custGeom>
              <a:avLst/>
              <a:gdLst>
                <a:gd name="csX0" fmla="*/ 0 w 283711"/>
                <a:gd name="csY0" fmla="*/ 0 h 348460"/>
                <a:gd name="csX1" fmla="*/ 128510 w 283711"/>
                <a:gd name="csY1" fmla="*/ 0 h 348460"/>
                <a:gd name="csX2" fmla="*/ 283711 w 283711"/>
                <a:gd name="csY2" fmla="*/ 124062 h 348460"/>
                <a:gd name="csX3" fmla="*/ 128510 w 283711"/>
                <a:gd name="csY3" fmla="*/ 248124 h 348460"/>
                <a:gd name="csX4" fmla="*/ 79083 w 283711"/>
                <a:gd name="csY4" fmla="*/ 248124 h 348460"/>
                <a:gd name="csX5" fmla="*/ 79083 w 283711"/>
                <a:gd name="csY5" fmla="*/ 348461 h 348460"/>
                <a:gd name="csX6" fmla="*/ 0 w 283711"/>
                <a:gd name="csY6" fmla="*/ 348461 h 348460"/>
                <a:gd name="csX7" fmla="*/ 0 w 283711"/>
                <a:gd name="csY7" fmla="*/ 0 h 348460"/>
                <a:gd name="csX8" fmla="*/ 133453 w 283711"/>
                <a:gd name="csY8" fmla="*/ 179173 h 348460"/>
                <a:gd name="csX9" fmla="*/ 204628 w 283711"/>
                <a:gd name="csY9" fmla="*/ 124309 h 348460"/>
                <a:gd name="csX10" fmla="*/ 133453 w 283711"/>
                <a:gd name="csY10" fmla="*/ 69445 h 348460"/>
                <a:gd name="csX11" fmla="*/ 79083 w 283711"/>
                <a:gd name="csY11" fmla="*/ 69445 h 348460"/>
                <a:gd name="csX12" fmla="*/ 79083 w 283711"/>
                <a:gd name="csY12" fmla="*/ 179173 h 348460"/>
                <a:gd name="csX13" fmla="*/ 133453 w 283711"/>
                <a:gd name="csY13" fmla="*/ 179173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</a:cxnLst>
              <a:rect l="l" t="t" r="r" b="b"/>
              <a:pathLst>
                <a:path w="283711" h="348460">
                  <a:moveTo>
                    <a:pt x="0" y="0"/>
                  </a:moveTo>
                  <a:lnTo>
                    <a:pt x="128510" y="0"/>
                  </a:lnTo>
                  <a:cubicBezTo>
                    <a:pt x="233790" y="0"/>
                    <a:pt x="283711" y="34599"/>
                    <a:pt x="283711" y="124062"/>
                  </a:cubicBezTo>
                  <a:cubicBezTo>
                    <a:pt x="283711" y="213525"/>
                    <a:pt x="233790" y="248124"/>
                    <a:pt x="128510" y="248124"/>
                  </a:cubicBezTo>
                  <a:lnTo>
                    <a:pt x="79083" y="248124"/>
                  </a:lnTo>
                  <a:lnTo>
                    <a:pt x="790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  <a:moveTo>
                    <a:pt x="133453" y="179173"/>
                  </a:moveTo>
                  <a:cubicBezTo>
                    <a:pt x="180408" y="179173"/>
                    <a:pt x="204628" y="167311"/>
                    <a:pt x="204628" y="124309"/>
                  </a:cubicBezTo>
                  <a:cubicBezTo>
                    <a:pt x="204628" y="81307"/>
                    <a:pt x="180408" y="69445"/>
                    <a:pt x="133453" y="69445"/>
                  </a:cubicBezTo>
                  <a:lnTo>
                    <a:pt x="79083" y="69445"/>
                  </a:lnTo>
                  <a:lnTo>
                    <a:pt x="79083" y="179173"/>
                  </a:lnTo>
                  <a:lnTo>
                    <a:pt x="133453" y="179173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433150E-0F6F-B05A-010F-DDDD74DE5C78}"/>
                </a:ext>
              </a:extLst>
            </p:cNvPr>
            <p:cNvSpPr/>
            <p:nvPr/>
          </p:nvSpPr>
          <p:spPr>
            <a:xfrm>
              <a:off x="6667371" y="9187263"/>
              <a:ext cx="237249" cy="348460"/>
            </a:xfrm>
            <a:custGeom>
              <a:avLst/>
              <a:gdLst>
                <a:gd name="csX0" fmla="*/ 237250 w 237249"/>
                <a:gd name="csY0" fmla="*/ 0 h 348460"/>
                <a:gd name="csX1" fmla="*/ 237250 w 237249"/>
                <a:gd name="csY1" fmla="*/ 69198 h 348460"/>
                <a:gd name="csX2" fmla="*/ 158167 w 237249"/>
                <a:gd name="csY2" fmla="*/ 69198 h 348460"/>
                <a:gd name="csX3" fmla="*/ 158167 w 237249"/>
                <a:gd name="csY3" fmla="*/ 278768 h 348460"/>
                <a:gd name="csX4" fmla="*/ 237250 w 237249"/>
                <a:gd name="csY4" fmla="*/ 278768 h 348460"/>
                <a:gd name="csX5" fmla="*/ 237250 w 237249"/>
                <a:gd name="csY5" fmla="*/ 348461 h 348460"/>
                <a:gd name="csX6" fmla="*/ 0 w 237249"/>
                <a:gd name="csY6" fmla="*/ 348461 h 348460"/>
                <a:gd name="csX7" fmla="*/ 0 w 237249"/>
                <a:gd name="csY7" fmla="*/ 278768 h 348460"/>
                <a:gd name="csX8" fmla="*/ 79084 w 237249"/>
                <a:gd name="csY8" fmla="*/ 278768 h 348460"/>
                <a:gd name="csX9" fmla="*/ 79084 w 237249"/>
                <a:gd name="csY9" fmla="*/ 69198 h 348460"/>
                <a:gd name="csX10" fmla="*/ 0 w 237249"/>
                <a:gd name="csY10" fmla="*/ 69198 h 348460"/>
                <a:gd name="csX11" fmla="*/ 0 w 237249"/>
                <a:gd name="csY11" fmla="*/ 0 h 348460"/>
                <a:gd name="csX12" fmla="*/ 237250 w 237249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37249" h="348460">
                  <a:moveTo>
                    <a:pt x="237250" y="0"/>
                  </a:moveTo>
                  <a:lnTo>
                    <a:pt x="237250" y="69198"/>
                  </a:lnTo>
                  <a:lnTo>
                    <a:pt x="158167" y="69198"/>
                  </a:lnTo>
                  <a:lnTo>
                    <a:pt x="158167" y="278768"/>
                  </a:lnTo>
                  <a:lnTo>
                    <a:pt x="237250" y="278768"/>
                  </a:lnTo>
                  <a:lnTo>
                    <a:pt x="237250" y="348461"/>
                  </a:lnTo>
                  <a:lnTo>
                    <a:pt x="0" y="348461"/>
                  </a:lnTo>
                  <a:lnTo>
                    <a:pt x="0" y="278768"/>
                  </a:lnTo>
                  <a:lnTo>
                    <a:pt x="79084" y="278768"/>
                  </a:lnTo>
                  <a:lnTo>
                    <a:pt x="79084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23725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D88D54D-FD6B-D686-81C7-E1344F93406F}"/>
                </a:ext>
              </a:extLst>
            </p:cNvPr>
            <p:cNvSpPr/>
            <p:nvPr/>
          </p:nvSpPr>
          <p:spPr>
            <a:xfrm>
              <a:off x="6985681" y="9187263"/>
              <a:ext cx="268883" cy="348460"/>
            </a:xfrm>
            <a:custGeom>
              <a:avLst/>
              <a:gdLst>
                <a:gd name="csX0" fmla="*/ 0 w 268883"/>
                <a:gd name="csY0" fmla="*/ 0 h 348460"/>
                <a:gd name="csX1" fmla="*/ 268883 w 268883"/>
                <a:gd name="csY1" fmla="*/ 0 h 348460"/>
                <a:gd name="csX2" fmla="*/ 268883 w 268883"/>
                <a:gd name="csY2" fmla="*/ 69198 h 348460"/>
                <a:gd name="csX3" fmla="*/ 79578 w 268883"/>
                <a:gd name="csY3" fmla="*/ 69198 h 348460"/>
                <a:gd name="csX4" fmla="*/ 79578 w 268883"/>
                <a:gd name="csY4" fmla="*/ 140867 h 348460"/>
                <a:gd name="csX5" fmla="*/ 244170 w 268883"/>
                <a:gd name="csY5" fmla="*/ 140867 h 348460"/>
                <a:gd name="csX6" fmla="*/ 244170 w 268883"/>
                <a:gd name="csY6" fmla="*/ 206605 h 348460"/>
                <a:gd name="csX7" fmla="*/ 79578 w 268883"/>
                <a:gd name="csY7" fmla="*/ 206605 h 348460"/>
                <a:gd name="csX8" fmla="*/ 79578 w 268883"/>
                <a:gd name="csY8" fmla="*/ 279263 h 348460"/>
                <a:gd name="csX9" fmla="*/ 268883 w 268883"/>
                <a:gd name="csY9" fmla="*/ 279263 h 348460"/>
                <a:gd name="csX10" fmla="*/ 268883 w 268883"/>
                <a:gd name="csY10" fmla="*/ 348461 h 348460"/>
                <a:gd name="csX11" fmla="*/ 0 w 268883"/>
                <a:gd name="csY11" fmla="*/ 348461 h 348460"/>
                <a:gd name="csX12" fmla="*/ 0 w 268883"/>
                <a:gd name="csY12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</a:cxnLst>
              <a:rect l="l" t="t" r="r" b="b"/>
              <a:pathLst>
                <a:path w="268883" h="348460">
                  <a:moveTo>
                    <a:pt x="0" y="0"/>
                  </a:moveTo>
                  <a:lnTo>
                    <a:pt x="268883" y="0"/>
                  </a:lnTo>
                  <a:lnTo>
                    <a:pt x="268883" y="69198"/>
                  </a:lnTo>
                  <a:lnTo>
                    <a:pt x="79578" y="69198"/>
                  </a:lnTo>
                  <a:lnTo>
                    <a:pt x="79578" y="140867"/>
                  </a:lnTo>
                  <a:lnTo>
                    <a:pt x="244170" y="140867"/>
                  </a:lnTo>
                  <a:lnTo>
                    <a:pt x="244170" y="206605"/>
                  </a:lnTo>
                  <a:lnTo>
                    <a:pt x="79578" y="206605"/>
                  </a:lnTo>
                  <a:lnTo>
                    <a:pt x="79578" y="279263"/>
                  </a:lnTo>
                  <a:lnTo>
                    <a:pt x="268883" y="279263"/>
                  </a:lnTo>
                  <a:lnTo>
                    <a:pt x="268883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B7C9222-89C9-92EB-1CA9-4C7C670C0C41}"/>
                </a:ext>
              </a:extLst>
            </p:cNvPr>
            <p:cNvSpPr/>
            <p:nvPr/>
          </p:nvSpPr>
          <p:spPr>
            <a:xfrm>
              <a:off x="7332165" y="9187263"/>
              <a:ext cx="345001" cy="348460"/>
            </a:xfrm>
            <a:custGeom>
              <a:avLst/>
              <a:gdLst>
                <a:gd name="csX0" fmla="*/ 0 w 345001"/>
                <a:gd name="csY0" fmla="*/ 0 h 348460"/>
                <a:gd name="csX1" fmla="*/ 149270 w 345001"/>
                <a:gd name="csY1" fmla="*/ 0 h 348460"/>
                <a:gd name="csX2" fmla="*/ 265918 w 345001"/>
                <a:gd name="csY2" fmla="*/ 322759 h 348460"/>
                <a:gd name="csX3" fmla="*/ 265918 w 345001"/>
                <a:gd name="csY3" fmla="*/ 0 h 348460"/>
                <a:gd name="csX4" fmla="*/ 345001 w 345001"/>
                <a:gd name="csY4" fmla="*/ 0 h 348460"/>
                <a:gd name="csX5" fmla="*/ 345001 w 345001"/>
                <a:gd name="csY5" fmla="*/ 348461 h 348460"/>
                <a:gd name="csX6" fmla="*/ 195731 w 345001"/>
                <a:gd name="csY6" fmla="*/ 348461 h 348460"/>
                <a:gd name="csX7" fmla="*/ 79084 w 345001"/>
                <a:gd name="csY7" fmla="*/ 25702 h 348460"/>
                <a:gd name="csX8" fmla="*/ 79084 w 345001"/>
                <a:gd name="csY8" fmla="*/ 348461 h 348460"/>
                <a:gd name="csX9" fmla="*/ 0 w 345001"/>
                <a:gd name="csY9" fmla="*/ 348461 h 348460"/>
                <a:gd name="csX10" fmla="*/ 0 w 345001"/>
                <a:gd name="csY10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345001" h="348460">
                  <a:moveTo>
                    <a:pt x="0" y="0"/>
                  </a:moveTo>
                  <a:lnTo>
                    <a:pt x="149270" y="0"/>
                  </a:lnTo>
                  <a:lnTo>
                    <a:pt x="265918" y="322759"/>
                  </a:lnTo>
                  <a:lnTo>
                    <a:pt x="265918" y="0"/>
                  </a:lnTo>
                  <a:lnTo>
                    <a:pt x="345001" y="0"/>
                  </a:lnTo>
                  <a:lnTo>
                    <a:pt x="345001" y="348461"/>
                  </a:lnTo>
                  <a:lnTo>
                    <a:pt x="195731" y="348461"/>
                  </a:lnTo>
                  <a:lnTo>
                    <a:pt x="79084" y="25702"/>
                  </a:lnTo>
                  <a:lnTo>
                    <a:pt x="79084" y="348461"/>
                  </a:lnTo>
                  <a:lnTo>
                    <a:pt x="0" y="348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2B4A270-1899-EC70-A912-B16BF89CA02A}"/>
                </a:ext>
              </a:extLst>
            </p:cNvPr>
            <p:cNvSpPr/>
            <p:nvPr/>
          </p:nvSpPr>
          <p:spPr>
            <a:xfrm>
              <a:off x="7744881" y="9187263"/>
              <a:ext cx="306942" cy="348460"/>
            </a:xfrm>
            <a:custGeom>
              <a:avLst/>
              <a:gdLst>
                <a:gd name="csX0" fmla="*/ 306942 w 306942"/>
                <a:gd name="csY0" fmla="*/ 0 h 348460"/>
                <a:gd name="csX1" fmla="*/ 306942 w 306942"/>
                <a:gd name="csY1" fmla="*/ 69198 h 348460"/>
                <a:gd name="csX2" fmla="*/ 193260 w 306942"/>
                <a:gd name="csY2" fmla="*/ 69198 h 348460"/>
                <a:gd name="csX3" fmla="*/ 193260 w 306942"/>
                <a:gd name="csY3" fmla="*/ 348461 h 348460"/>
                <a:gd name="csX4" fmla="*/ 114176 w 306942"/>
                <a:gd name="csY4" fmla="*/ 348461 h 348460"/>
                <a:gd name="csX5" fmla="*/ 114176 w 306942"/>
                <a:gd name="csY5" fmla="*/ 69198 h 348460"/>
                <a:gd name="csX6" fmla="*/ 0 w 306942"/>
                <a:gd name="csY6" fmla="*/ 69198 h 348460"/>
                <a:gd name="csX7" fmla="*/ 0 w 306942"/>
                <a:gd name="csY7" fmla="*/ 0 h 348460"/>
                <a:gd name="csX8" fmla="*/ 306942 w 306942"/>
                <a:gd name="csY8" fmla="*/ 0 h 34846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</a:cxnLst>
              <a:rect l="l" t="t" r="r" b="b"/>
              <a:pathLst>
                <a:path w="306942" h="348460">
                  <a:moveTo>
                    <a:pt x="306942" y="0"/>
                  </a:moveTo>
                  <a:lnTo>
                    <a:pt x="306942" y="69198"/>
                  </a:lnTo>
                  <a:lnTo>
                    <a:pt x="193260" y="69198"/>
                  </a:lnTo>
                  <a:lnTo>
                    <a:pt x="193260" y="348461"/>
                  </a:lnTo>
                  <a:lnTo>
                    <a:pt x="114176" y="348461"/>
                  </a:lnTo>
                  <a:lnTo>
                    <a:pt x="114176" y="69198"/>
                  </a:lnTo>
                  <a:lnTo>
                    <a:pt x="0" y="69198"/>
                  </a:lnTo>
                  <a:lnTo>
                    <a:pt x="0" y="0"/>
                  </a:lnTo>
                  <a:lnTo>
                    <a:pt x="306942" y="0"/>
                  </a:lnTo>
                  <a:close/>
                </a:path>
              </a:pathLst>
            </a:custGeom>
            <a:solidFill>
              <a:schemeClr val="accent2"/>
            </a:solidFill>
            <a:ln w="24708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680B2D7F-4CC3-E765-D33E-9ECBBC5B5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0093" y="3237349"/>
            <a:ext cx="3812299" cy="3812299"/>
          </a:xfrm>
          <a:custGeom>
            <a:avLst/>
            <a:gdLst>
              <a:gd name="csX0" fmla="*/ 3551238 w 7102475"/>
              <a:gd name="csY0" fmla="*/ 0 h 7102475"/>
              <a:gd name="csX1" fmla="*/ 7097855 w 7102475"/>
              <a:gd name="csY1" fmla="*/ 3368492 h 7102475"/>
              <a:gd name="csX2" fmla="*/ 7102475 w 7102475"/>
              <a:gd name="csY2" fmla="*/ 3551196 h 7102475"/>
              <a:gd name="csX3" fmla="*/ 7102475 w 7102475"/>
              <a:gd name="csY3" fmla="*/ 3551280 h 7102475"/>
              <a:gd name="csX4" fmla="*/ 7097855 w 7102475"/>
              <a:gd name="csY4" fmla="*/ 3733985 h 7102475"/>
              <a:gd name="csX5" fmla="*/ 3733985 w 7102475"/>
              <a:gd name="csY5" fmla="*/ 7097855 h 7102475"/>
              <a:gd name="csX6" fmla="*/ 3551280 w 7102475"/>
              <a:gd name="csY6" fmla="*/ 7102475 h 7102475"/>
              <a:gd name="csX7" fmla="*/ 3551196 w 7102475"/>
              <a:gd name="csY7" fmla="*/ 7102475 h 7102475"/>
              <a:gd name="csX8" fmla="*/ 3368492 w 7102475"/>
              <a:gd name="csY8" fmla="*/ 7097855 h 7102475"/>
              <a:gd name="csX9" fmla="*/ 0 w 7102475"/>
              <a:gd name="csY9" fmla="*/ 3551238 h 7102475"/>
              <a:gd name="csX10" fmla="*/ 3551238 w 7102475"/>
              <a:gd name="csY10" fmla="*/ 0 h 710247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7102475" h="7102475">
                <a:moveTo>
                  <a:pt x="3551238" y="0"/>
                </a:moveTo>
                <a:cubicBezTo>
                  <a:pt x="5451243" y="0"/>
                  <a:pt x="7002742" y="1492124"/>
                  <a:pt x="7097855" y="3368492"/>
                </a:cubicBezTo>
                <a:lnTo>
                  <a:pt x="7102475" y="3551196"/>
                </a:lnTo>
                <a:lnTo>
                  <a:pt x="7102475" y="3551280"/>
                </a:lnTo>
                <a:lnTo>
                  <a:pt x="7097855" y="3733985"/>
                </a:lnTo>
                <a:cubicBezTo>
                  <a:pt x="7005810" y="5549824"/>
                  <a:pt x="5549824" y="7005810"/>
                  <a:pt x="3733985" y="7097855"/>
                </a:cubicBezTo>
                <a:lnTo>
                  <a:pt x="3551280" y="7102475"/>
                </a:lnTo>
                <a:lnTo>
                  <a:pt x="3551196" y="7102475"/>
                </a:lnTo>
                <a:lnTo>
                  <a:pt x="3368492" y="7097855"/>
                </a:lnTo>
                <a:cubicBezTo>
                  <a:pt x="1492124" y="7002742"/>
                  <a:pt x="0" y="5451243"/>
                  <a:pt x="0" y="3551238"/>
                </a:cubicBezTo>
                <a:cubicBezTo>
                  <a:pt x="0" y="1589943"/>
                  <a:pt x="1589943" y="0"/>
                  <a:pt x="3551238" y="0"/>
                </a:cubicBezTo>
                <a:close/>
              </a:path>
            </a:pathLst>
          </a:custGeom>
          <a:pattFill prst="pct90">
            <a:fgClr>
              <a:srgbClr val="3FCFD5"/>
            </a:fgClr>
            <a:bgClr>
              <a:schemeClr val="accent3"/>
            </a:bgClr>
          </a:pattFill>
          <a:ln w="5080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B2FFD-1D37-A885-F5B4-076487A16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00099" y="8147739"/>
            <a:ext cx="5304965" cy="614247"/>
          </a:xfrm>
        </p:spPr>
        <p:txBody>
          <a:bodyPr wrap="square" lIns="0" tIns="0" rIns="0" bIns="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 b="1" i="0"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 b="1">
                <a:latin typeface="+mn-lt"/>
              </a:defRPr>
            </a:lvl2pPr>
            <a:lvl3pPr>
              <a:buNone/>
              <a:defRPr b="1">
                <a:latin typeface="+mn-lt"/>
              </a:defRPr>
            </a:lvl3pPr>
            <a:lvl4pPr>
              <a:buNone/>
              <a:defRPr b="1">
                <a:latin typeface="+mn-lt"/>
              </a:defRPr>
            </a:lvl4pPr>
            <a:lvl5pPr>
              <a:buNone/>
              <a:defRPr b="1">
                <a:latin typeface="+mn-lt"/>
              </a:defRPr>
            </a:lvl5pPr>
          </a:lstStyle>
          <a:p>
            <a:pPr lvl="0"/>
            <a:r>
              <a:rPr lang="en-US" dirty="0"/>
              <a:t>NOMBRE (EN MAYÚSCULAS)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8B5DB48-58C7-C406-3566-A0942336917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12062" y="3131537"/>
            <a:ext cx="4681039" cy="4023927"/>
          </a:xfrm>
        </p:spPr>
        <p:txBody>
          <a:bodyPr tIns="0" rIns="0" bIns="0" anchor="ctr"/>
          <a:lstStyle>
            <a:lvl1pPr marL="0" indent="0" algn="ctr">
              <a:lnSpc>
                <a:spcPct val="90000"/>
              </a:lnSpc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>
              <a:buNone/>
              <a:defRPr>
                <a:solidFill>
                  <a:schemeClr val="bg1"/>
                </a:solidFill>
                <a:latin typeface="+mn-lt"/>
              </a:defRPr>
            </a:lvl3pPr>
            <a:lvl4pPr>
              <a:buNone/>
              <a:defRPr>
                <a:solidFill>
                  <a:schemeClr val="bg1"/>
                </a:solidFill>
                <a:latin typeface="+mn-lt"/>
              </a:defRPr>
            </a:lvl4pPr>
            <a:lvl5pPr>
              <a:buNone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ste es un texto de ejemplo. Por favor comparte aquí lo que piensas. Trata de escribir alrededor de 250 a 300 caracteres.</a:t>
            </a:r>
            <a:br>
              <a:rPr lang="en-US" dirty="0"/>
            </a:br>
            <a:r>
              <a:rPr lang="en-US" dirty="0"/>
              <a:t>Lorem ipsum dolor sit amet, consectetur adipiscing elit, sed do eiusmod tempor incididunt ut labore et dolore magna aliqua.</a:t>
            </a:r>
            <a:br>
              <a:rPr lang="en-US" dirty="0"/>
            </a:br>
            <a:r>
              <a:rPr lang="en-US" dirty="0"/>
              <a:t>Excepteur sint occaecat cupidatat non provident.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449623A-5F3C-6677-0762-C733A58010B9}"/>
              </a:ext>
            </a:extLst>
          </p:cNvPr>
          <p:cNvGrpSpPr/>
          <p:nvPr userDrawn="1"/>
        </p:nvGrpSpPr>
        <p:grpSpPr>
          <a:xfrm>
            <a:off x="4992441" y="7695771"/>
            <a:ext cx="4720280" cy="453822"/>
            <a:chOff x="3602071" y="7695770"/>
            <a:chExt cx="5888951" cy="56618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4A37628-5D75-CAE1-B2BE-E847EE3A26A5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Graphic 45">
              <a:extLst>
                <a:ext uri="{FF2B5EF4-FFF2-40B4-BE49-F238E27FC236}">
                  <a16:creationId xmlns:a16="http://schemas.microsoft.com/office/drawing/2014/main" id="{699ACD69-44DC-AE2D-64BB-DBE74CB6DE37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8F0EA6F-FFAF-705C-7959-47D8B146D5B3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AF1522E-38EC-2455-2B1C-FE6CE8DA1840}"/>
              </a:ext>
            </a:extLst>
          </p:cNvPr>
          <p:cNvGrpSpPr/>
          <p:nvPr userDrawn="1"/>
        </p:nvGrpSpPr>
        <p:grpSpPr>
          <a:xfrm rot="10800000">
            <a:off x="4992441" y="2137406"/>
            <a:ext cx="4720280" cy="453822"/>
            <a:chOff x="3602071" y="7695770"/>
            <a:chExt cx="5888951" cy="566181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5A3D28D-9CD7-70EC-25A7-A4E22E3F4064}"/>
                </a:ext>
              </a:extLst>
            </p:cNvPr>
            <p:cNvSpPr/>
            <p:nvPr userDrawn="1"/>
          </p:nvSpPr>
          <p:spPr>
            <a:xfrm rot="10800000">
              <a:off x="71072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Graphic 45">
              <a:extLst>
                <a:ext uri="{FF2B5EF4-FFF2-40B4-BE49-F238E27FC236}">
                  <a16:creationId xmlns:a16="http://schemas.microsoft.com/office/drawing/2014/main" id="{908F5BDE-335A-FFBB-1C2D-D887F3723114}"/>
                </a:ext>
              </a:extLst>
            </p:cNvPr>
            <p:cNvSpPr/>
            <p:nvPr/>
          </p:nvSpPr>
          <p:spPr>
            <a:xfrm rot="10800000">
              <a:off x="6224372" y="7695770"/>
              <a:ext cx="644348" cy="566181"/>
            </a:xfrm>
            <a:custGeom>
              <a:avLst/>
              <a:gdLst>
                <a:gd name="csX0" fmla="*/ 475594 w 1006844"/>
                <a:gd name="csY0" fmla="*/ 12791 h 884702"/>
                <a:gd name="csX1" fmla="*/ 462803 w 1006844"/>
                <a:gd name="csY1" fmla="*/ 25582 h 884702"/>
                <a:gd name="csX2" fmla="*/ 450012 w 1006844"/>
                <a:gd name="csY2" fmla="*/ 12791 h 884702"/>
                <a:gd name="csX3" fmla="*/ 462803 w 1006844"/>
                <a:gd name="csY3" fmla="*/ 0 h 884702"/>
                <a:gd name="csX4" fmla="*/ 475594 w 1006844"/>
                <a:gd name="csY4" fmla="*/ 12791 h 884702"/>
                <a:gd name="csX5" fmla="*/ 462803 w 1006844"/>
                <a:gd name="csY5" fmla="*/ 40904 h 884702"/>
                <a:gd name="csX6" fmla="*/ 450012 w 1006844"/>
                <a:gd name="csY6" fmla="*/ 53695 h 884702"/>
                <a:gd name="csX7" fmla="*/ 462803 w 1006844"/>
                <a:gd name="csY7" fmla="*/ 66486 h 884702"/>
                <a:gd name="csX8" fmla="*/ 475594 w 1006844"/>
                <a:gd name="csY8" fmla="*/ 53695 h 884702"/>
                <a:gd name="csX9" fmla="*/ 462803 w 1006844"/>
                <a:gd name="csY9" fmla="*/ 40904 h 884702"/>
                <a:gd name="csX10" fmla="*/ 462803 w 1006844"/>
                <a:gd name="csY10" fmla="*/ 81831 h 884702"/>
                <a:gd name="csX11" fmla="*/ 450012 w 1006844"/>
                <a:gd name="csY11" fmla="*/ 94622 h 884702"/>
                <a:gd name="csX12" fmla="*/ 462803 w 1006844"/>
                <a:gd name="csY12" fmla="*/ 107413 h 884702"/>
                <a:gd name="csX13" fmla="*/ 475594 w 1006844"/>
                <a:gd name="csY13" fmla="*/ 94622 h 884702"/>
                <a:gd name="csX14" fmla="*/ 462803 w 1006844"/>
                <a:gd name="csY14" fmla="*/ 81831 h 884702"/>
                <a:gd name="csX15" fmla="*/ 462803 w 1006844"/>
                <a:gd name="csY15" fmla="*/ 122735 h 884702"/>
                <a:gd name="csX16" fmla="*/ 450012 w 1006844"/>
                <a:gd name="csY16" fmla="*/ 135526 h 884702"/>
                <a:gd name="csX17" fmla="*/ 462803 w 1006844"/>
                <a:gd name="csY17" fmla="*/ 148317 h 884702"/>
                <a:gd name="csX18" fmla="*/ 475594 w 1006844"/>
                <a:gd name="csY18" fmla="*/ 135526 h 884702"/>
                <a:gd name="csX19" fmla="*/ 462803 w 1006844"/>
                <a:gd name="csY19" fmla="*/ 122735 h 884702"/>
                <a:gd name="csX20" fmla="*/ 462803 w 1006844"/>
                <a:gd name="csY20" fmla="*/ 163639 h 884702"/>
                <a:gd name="csX21" fmla="*/ 450012 w 1006844"/>
                <a:gd name="csY21" fmla="*/ 176430 h 884702"/>
                <a:gd name="csX22" fmla="*/ 462803 w 1006844"/>
                <a:gd name="csY22" fmla="*/ 189221 h 884702"/>
                <a:gd name="csX23" fmla="*/ 475594 w 1006844"/>
                <a:gd name="csY23" fmla="*/ 176430 h 884702"/>
                <a:gd name="csX24" fmla="*/ 462803 w 1006844"/>
                <a:gd name="csY24" fmla="*/ 163639 h 884702"/>
                <a:gd name="csX25" fmla="*/ 462803 w 1006844"/>
                <a:gd name="csY25" fmla="*/ 409108 h 884702"/>
                <a:gd name="csX26" fmla="*/ 450012 w 1006844"/>
                <a:gd name="csY26" fmla="*/ 421899 h 884702"/>
                <a:gd name="csX27" fmla="*/ 462803 w 1006844"/>
                <a:gd name="csY27" fmla="*/ 434690 h 884702"/>
                <a:gd name="csX28" fmla="*/ 475594 w 1006844"/>
                <a:gd name="csY28" fmla="*/ 421899 h 884702"/>
                <a:gd name="csX29" fmla="*/ 462803 w 1006844"/>
                <a:gd name="csY29" fmla="*/ 409108 h 884702"/>
                <a:gd name="csX30" fmla="*/ 462803 w 1006844"/>
                <a:gd name="csY30" fmla="*/ 450012 h 884702"/>
                <a:gd name="csX31" fmla="*/ 450012 w 1006844"/>
                <a:gd name="csY31" fmla="*/ 462803 h 884702"/>
                <a:gd name="csX32" fmla="*/ 462803 w 1006844"/>
                <a:gd name="csY32" fmla="*/ 475594 h 884702"/>
                <a:gd name="csX33" fmla="*/ 475594 w 1006844"/>
                <a:gd name="csY33" fmla="*/ 462803 h 884702"/>
                <a:gd name="csX34" fmla="*/ 462803 w 1006844"/>
                <a:gd name="csY34" fmla="*/ 450012 h 884702"/>
                <a:gd name="csX35" fmla="*/ 462803 w 1006844"/>
                <a:gd name="csY35" fmla="*/ 490939 h 884702"/>
                <a:gd name="csX36" fmla="*/ 450012 w 1006844"/>
                <a:gd name="csY36" fmla="*/ 503730 h 884702"/>
                <a:gd name="csX37" fmla="*/ 462803 w 1006844"/>
                <a:gd name="csY37" fmla="*/ 516521 h 884702"/>
                <a:gd name="csX38" fmla="*/ 475594 w 1006844"/>
                <a:gd name="csY38" fmla="*/ 503730 h 884702"/>
                <a:gd name="csX39" fmla="*/ 462803 w 1006844"/>
                <a:gd name="csY39" fmla="*/ 490939 h 884702"/>
                <a:gd name="csX40" fmla="*/ 462803 w 1006844"/>
                <a:gd name="csY40" fmla="*/ 531843 h 884702"/>
                <a:gd name="csX41" fmla="*/ 450012 w 1006844"/>
                <a:gd name="csY41" fmla="*/ 544634 h 884702"/>
                <a:gd name="csX42" fmla="*/ 462803 w 1006844"/>
                <a:gd name="csY42" fmla="*/ 557425 h 884702"/>
                <a:gd name="csX43" fmla="*/ 475594 w 1006844"/>
                <a:gd name="csY43" fmla="*/ 544634 h 884702"/>
                <a:gd name="csX44" fmla="*/ 462803 w 1006844"/>
                <a:gd name="csY44" fmla="*/ 531843 h 884702"/>
                <a:gd name="csX45" fmla="*/ 462803 w 1006844"/>
                <a:gd name="csY45" fmla="*/ 572747 h 884702"/>
                <a:gd name="csX46" fmla="*/ 450012 w 1006844"/>
                <a:gd name="csY46" fmla="*/ 585538 h 884702"/>
                <a:gd name="csX47" fmla="*/ 462803 w 1006844"/>
                <a:gd name="csY47" fmla="*/ 598329 h 884702"/>
                <a:gd name="csX48" fmla="*/ 475594 w 1006844"/>
                <a:gd name="csY48" fmla="*/ 585538 h 884702"/>
                <a:gd name="csX49" fmla="*/ 462803 w 1006844"/>
                <a:gd name="csY49" fmla="*/ 572747 h 884702"/>
                <a:gd name="csX50" fmla="*/ 462803 w 1006844"/>
                <a:gd name="csY50" fmla="*/ 613674 h 884702"/>
                <a:gd name="csX51" fmla="*/ 450012 w 1006844"/>
                <a:gd name="csY51" fmla="*/ 626465 h 884702"/>
                <a:gd name="csX52" fmla="*/ 462803 w 1006844"/>
                <a:gd name="csY52" fmla="*/ 639256 h 884702"/>
                <a:gd name="csX53" fmla="*/ 475594 w 1006844"/>
                <a:gd name="csY53" fmla="*/ 626465 h 884702"/>
                <a:gd name="csX54" fmla="*/ 462803 w 1006844"/>
                <a:gd name="csY54" fmla="*/ 613674 h 884702"/>
                <a:gd name="csX55" fmla="*/ 462803 w 1006844"/>
                <a:gd name="csY55" fmla="*/ 654578 h 884702"/>
                <a:gd name="csX56" fmla="*/ 450012 w 1006844"/>
                <a:gd name="csY56" fmla="*/ 667369 h 884702"/>
                <a:gd name="csX57" fmla="*/ 462803 w 1006844"/>
                <a:gd name="csY57" fmla="*/ 680160 h 884702"/>
                <a:gd name="csX58" fmla="*/ 475594 w 1006844"/>
                <a:gd name="csY58" fmla="*/ 667369 h 884702"/>
                <a:gd name="csX59" fmla="*/ 462803 w 1006844"/>
                <a:gd name="csY59" fmla="*/ 654578 h 884702"/>
                <a:gd name="csX60" fmla="*/ 462803 w 1006844"/>
                <a:gd name="csY60" fmla="*/ 695482 h 884702"/>
                <a:gd name="csX61" fmla="*/ 450012 w 1006844"/>
                <a:gd name="csY61" fmla="*/ 708273 h 884702"/>
                <a:gd name="csX62" fmla="*/ 462803 w 1006844"/>
                <a:gd name="csY62" fmla="*/ 721064 h 884702"/>
                <a:gd name="csX63" fmla="*/ 475594 w 1006844"/>
                <a:gd name="csY63" fmla="*/ 708273 h 884702"/>
                <a:gd name="csX64" fmla="*/ 462803 w 1006844"/>
                <a:gd name="csY64" fmla="*/ 695482 h 884702"/>
                <a:gd name="csX65" fmla="*/ 462803 w 1006844"/>
                <a:gd name="csY65" fmla="*/ 736386 h 884702"/>
                <a:gd name="csX66" fmla="*/ 450012 w 1006844"/>
                <a:gd name="csY66" fmla="*/ 749177 h 884702"/>
                <a:gd name="csX67" fmla="*/ 462803 w 1006844"/>
                <a:gd name="csY67" fmla="*/ 761968 h 884702"/>
                <a:gd name="csX68" fmla="*/ 475594 w 1006844"/>
                <a:gd name="csY68" fmla="*/ 749177 h 884702"/>
                <a:gd name="csX69" fmla="*/ 462803 w 1006844"/>
                <a:gd name="csY69" fmla="*/ 736386 h 884702"/>
                <a:gd name="csX70" fmla="*/ 462803 w 1006844"/>
                <a:gd name="csY70" fmla="*/ 777313 h 884702"/>
                <a:gd name="csX71" fmla="*/ 450012 w 1006844"/>
                <a:gd name="csY71" fmla="*/ 790104 h 884702"/>
                <a:gd name="csX72" fmla="*/ 462803 w 1006844"/>
                <a:gd name="csY72" fmla="*/ 802895 h 884702"/>
                <a:gd name="csX73" fmla="*/ 475594 w 1006844"/>
                <a:gd name="csY73" fmla="*/ 790104 h 884702"/>
                <a:gd name="csX74" fmla="*/ 462803 w 1006844"/>
                <a:gd name="csY74" fmla="*/ 777313 h 884702"/>
                <a:gd name="csX75" fmla="*/ 462803 w 1006844"/>
                <a:gd name="csY75" fmla="*/ 818217 h 884702"/>
                <a:gd name="csX76" fmla="*/ 450012 w 1006844"/>
                <a:gd name="csY76" fmla="*/ 831008 h 884702"/>
                <a:gd name="csX77" fmla="*/ 462803 w 1006844"/>
                <a:gd name="csY77" fmla="*/ 843799 h 884702"/>
                <a:gd name="csX78" fmla="*/ 475594 w 1006844"/>
                <a:gd name="csY78" fmla="*/ 831008 h 884702"/>
                <a:gd name="csX79" fmla="*/ 462803 w 1006844"/>
                <a:gd name="csY79" fmla="*/ 818217 h 884702"/>
                <a:gd name="csX80" fmla="*/ 462803 w 1006844"/>
                <a:gd name="csY80" fmla="*/ 859121 h 884702"/>
                <a:gd name="csX81" fmla="*/ 450012 w 1006844"/>
                <a:gd name="csY81" fmla="*/ 871912 h 884702"/>
                <a:gd name="csX82" fmla="*/ 462803 w 1006844"/>
                <a:gd name="csY82" fmla="*/ 884703 h 884702"/>
                <a:gd name="csX83" fmla="*/ 475594 w 1006844"/>
                <a:gd name="csY83" fmla="*/ 871912 h 884702"/>
                <a:gd name="csX84" fmla="*/ 462803 w 1006844"/>
                <a:gd name="csY84" fmla="*/ 859121 h 884702"/>
                <a:gd name="csX85" fmla="*/ 421899 w 1006844"/>
                <a:gd name="csY85" fmla="*/ 0 h 884702"/>
                <a:gd name="csX86" fmla="*/ 409108 w 1006844"/>
                <a:gd name="csY86" fmla="*/ 12791 h 884702"/>
                <a:gd name="csX87" fmla="*/ 421899 w 1006844"/>
                <a:gd name="csY87" fmla="*/ 25582 h 884702"/>
                <a:gd name="csX88" fmla="*/ 434690 w 1006844"/>
                <a:gd name="csY88" fmla="*/ 12791 h 884702"/>
                <a:gd name="csX89" fmla="*/ 421899 w 1006844"/>
                <a:gd name="csY89" fmla="*/ 0 h 884702"/>
                <a:gd name="csX90" fmla="*/ 421899 w 1006844"/>
                <a:gd name="csY90" fmla="*/ 40904 h 884702"/>
                <a:gd name="csX91" fmla="*/ 409108 w 1006844"/>
                <a:gd name="csY91" fmla="*/ 53695 h 884702"/>
                <a:gd name="csX92" fmla="*/ 421899 w 1006844"/>
                <a:gd name="csY92" fmla="*/ 66486 h 884702"/>
                <a:gd name="csX93" fmla="*/ 434690 w 1006844"/>
                <a:gd name="csY93" fmla="*/ 53695 h 884702"/>
                <a:gd name="csX94" fmla="*/ 421899 w 1006844"/>
                <a:gd name="csY94" fmla="*/ 40904 h 884702"/>
                <a:gd name="csX95" fmla="*/ 421899 w 1006844"/>
                <a:gd name="csY95" fmla="*/ 81831 h 884702"/>
                <a:gd name="csX96" fmla="*/ 409108 w 1006844"/>
                <a:gd name="csY96" fmla="*/ 94622 h 884702"/>
                <a:gd name="csX97" fmla="*/ 421899 w 1006844"/>
                <a:gd name="csY97" fmla="*/ 107413 h 884702"/>
                <a:gd name="csX98" fmla="*/ 434690 w 1006844"/>
                <a:gd name="csY98" fmla="*/ 94622 h 884702"/>
                <a:gd name="csX99" fmla="*/ 421899 w 1006844"/>
                <a:gd name="csY99" fmla="*/ 81831 h 884702"/>
                <a:gd name="csX100" fmla="*/ 421899 w 1006844"/>
                <a:gd name="csY100" fmla="*/ 122735 h 884702"/>
                <a:gd name="csX101" fmla="*/ 409108 w 1006844"/>
                <a:gd name="csY101" fmla="*/ 135526 h 884702"/>
                <a:gd name="csX102" fmla="*/ 421899 w 1006844"/>
                <a:gd name="csY102" fmla="*/ 148317 h 884702"/>
                <a:gd name="csX103" fmla="*/ 434690 w 1006844"/>
                <a:gd name="csY103" fmla="*/ 135526 h 884702"/>
                <a:gd name="csX104" fmla="*/ 421899 w 1006844"/>
                <a:gd name="csY104" fmla="*/ 122735 h 884702"/>
                <a:gd name="csX105" fmla="*/ 421899 w 1006844"/>
                <a:gd name="csY105" fmla="*/ 163639 h 884702"/>
                <a:gd name="csX106" fmla="*/ 409108 w 1006844"/>
                <a:gd name="csY106" fmla="*/ 176430 h 884702"/>
                <a:gd name="csX107" fmla="*/ 421899 w 1006844"/>
                <a:gd name="csY107" fmla="*/ 189221 h 884702"/>
                <a:gd name="csX108" fmla="*/ 434690 w 1006844"/>
                <a:gd name="csY108" fmla="*/ 176430 h 884702"/>
                <a:gd name="csX109" fmla="*/ 421899 w 1006844"/>
                <a:gd name="csY109" fmla="*/ 163639 h 884702"/>
                <a:gd name="csX110" fmla="*/ 421899 w 1006844"/>
                <a:gd name="csY110" fmla="*/ 204543 h 884702"/>
                <a:gd name="csX111" fmla="*/ 409108 w 1006844"/>
                <a:gd name="csY111" fmla="*/ 217334 h 884702"/>
                <a:gd name="csX112" fmla="*/ 421899 w 1006844"/>
                <a:gd name="csY112" fmla="*/ 230125 h 884702"/>
                <a:gd name="csX113" fmla="*/ 434690 w 1006844"/>
                <a:gd name="csY113" fmla="*/ 217334 h 884702"/>
                <a:gd name="csX114" fmla="*/ 421899 w 1006844"/>
                <a:gd name="csY114" fmla="*/ 204543 h 884702"/>
                <a:gd name="csX115" fmla="*/ 421899 w 1006844"/>
                <a:gd name="csY115" fmla="*/ 409108 h 884702"/>
                <a:gd name="csX116" fmla="*/ 409108 w 1006844"/>
                <a:gd name="csY116" fmla="*/ 421899 h 884702"/>
                <a:gd name="csX117" fmla="*/ 421899 w 1006844"/>
                <a:gd name="csY117" fmla="*/ 434690 h 884702"/>
                <a:gd name="csX118" fmla="*/ 434690 w 1006844"/>
                <a:gd name="csY118" fmla="*/ 421899 h 884702"/>
                <a:gd name="csX119" fmla="*/ 421899 w 1006844"/>
                <a:gd name="csY119" fmla="*/ 409108 h 884702"/>
                <a:gd name="csX120" fmla="*/ 421899 w 1006844"/>
                <a:gd name="csY120" fmla="*/ 450012 h 884702"/>
                <a:gd name="csX121" fmla="*/ 409108 w 1006844"/>
                <a:gd name="csY121" fmla="*/ 462803 h 884702"/>
                <a:gd name="csX122" fmla="*/ 421899 w 1006844"/>
                <a:gd name="csY122" fmla="*/ 475594 h 884702"/>
                <a:gd name="csX123" fmla="*/ 434690 w 1006844"/>
                <a:gd name="csY123" fmla="*/ 462803 h 884702"/>
                <a:gd name="csX124" fmla="*/ 421899 w 1006844"/>
                <a:gd name="csY124" fmla="*/ 450012 h 884702"/>
                <a:gd name="csX125" fmla="*/ 421899 w 1006844"/>
                <a:gd name="csY125" fmla="*/ 490939 h 884702"/>
                <a:gd name="csX126" fmla="*/ 409108 w 1006844"/>
                <a:gd name="csY126" fmla="*/ 503730 h 884702"/>
                <a:gd name="csX127" fmla="*/ 421899 w 1006844"/>
                <a:gd name="csY127" fmla="*/ 516521 h 884702"/>
                <a:gd name="csX128" fmla="*/ 434690 w 1006844"/>
                <a:gd name="csY128" fmla="*/ 503730 h 884702"/>
                <a:gd name="csX129" fmla="*/ 421899 w 1006844"/>
                <a:gd name="csY129" fmla="*/ 490939 h 884702"/>
                <a:gd name="csX130" fmla="*/ 421899 w 1006844"/>
                <a:gd name="csY130" fmla="*/ 531843 h 884702"/>
                <a:gd name="csX131" fmla="*/ 409108 w 1006844"/>
                <a:gd name="csY131" fmla="*/ 544634 h 884702"/>
                <a:gd name="csX132" fmla="*/ 421899 w 1006844"/>
                <a:gd name="csY132" fmla="*/ 557425 h 884702"/>
                <a:gd name="csX133" fmla="*/ 434690 w 1006844"/>
                <a:gd name="csY133" fmla="*/ 544634 h 884702"/>
                <a:gd name="csX134" fmla="*/ 421899 w 1006844"/>
                <a:gd name="csY134" fmla="*/ 531843 h 884702"/>
                <a:gd name="csX135" fmla="*/ 421899 w 1006844"/>
                <a:gd name="csY135" fmla="*/ 572747 h 884702"/>
                <a:gd name="csX136" fmla="*/ 409108 w 1006844"/>
                <a:gd name="csY136" fmla="*/ 585538 h 884702"/>
                <a:gd name="csX137" fmla="*/ 421899 w 1006844"/>
                <a:gd name="csY137" fmla="*/ 598329 h 884702"/>
                <a:gd name="csX138" fmla="*/ 434690 w 1006844"/>
                <a:gd name="csY138" fmla="*/ 585538 h 884702"/>
                <a:gd name="csX139" fmla="*/ 421899 w 1006844"/>
                <a:gd name="csY139" fmla="*/ 572747 h 884702"/>
                <a:gd name="csX140" fmla="*/ 421899 w 1006844"/>
                <a:gd name="csY140" fmla="*/ 613674 h 884702"/>
                <a:gd name="csX141" fmla="*/ 409108 w 1006844"/>
                <a:gd name="csY141" fmla="*/ 626465 h 884702"/>
                <a:gd name="csX142" fmla="*/ 421899 w 1006844"/>
                <a:gd name="csY142" fmla="*/ 639256 h 884702"/>
                <a:gd name="csX143" fmla="*/ 434690 w 1006844"/>
                <a:gd name="csY143" fmla="*/ 626465 h 884702"/>
                <a:gd name="csX144" fmla="*/ 421899 w 1006844"/>
                <a:gd name="csY144" fmla="*/ 613674 h 884702"/>
                <a:gd name="csX145" fmla="*/ 421899 w 1006844"/>
                <a:gd name="csY145" fmla="*/ 654578 h 884702"/>
                <a:gd name="csX146" fmla="*/ 409108 w 1006844"/>
                <a:gd name="csY146" fmla="*/ 667369 h 884702"/>
                <a:gd name="csX147" fmla="*/ 421899 w 1006844"/>
                <a:gd name="csY147" fmla="*/ 680160 h 884702"/>
                <a:gd name="csX148" fmla="*/ 434690 w 1006844"/>
                <a:gd name="csY148" fmla="*/ 667369 h 884702"/>
                <a:gd name="csX149" fmla="*/ 421899 w 1006844"/>
                <a:gd name="csY149" fmla="*/ 654578 h 884702"/>
                <a:gd name="csX150" fmla="*/ 421899 w 1006844"/>
                <a:gd name="csY150" fmla="*/ 695482 h 884702"/>
                <a:gd name="csX151" fmla="*/ 409108 w 1006844"/>
                <a:gd name="csY151" fmla="*/ 708273 h 884702"/>
                <a:gd name="csX152" fmla="*/ 421899 w 1006844"/>
                <a:gd name="csY152" fmla="*/ 721064 h 884702"/>
                <a:gd name="csX153" fmla="*/ 434690 w 1006844"/>
                <a:gd name="csY153" fmla="*/ 708273 h 884702"/>
                <a:gd name="csX154" fmla="*/ 421899 w 1006844"/>
                <a:gd name="csY154" fmla="*/ 695482 h 884702"/>
                <a:gd name="csX155" fmla="*/ 421899 w 1006844"/>
                <a:gd name="csY155" fmla="*/ 736386 h 884702"/>
                <a:gd name="csX156" fmla="*/ 409108 w 1006844"/>
                <a:gd name="csY156" fmla="*/ 749177 h 884702"/>
                <a:gd name="csX157" fmla="*/ 421899 w 1006844"/>
                <a:gd name="csY157" fmla="*/ 761968 h 884702"/>
                <a:gd name="csX158" fmla="*/ 434690 w 1006844"/>
                <a:gd name="csY158" fmla="*/ 749177 h 884702"/>
                <a:gd name="csX159" fmla="*/ 421899 w 1006844"/>
                <a:gd name="csY159" fmla="*/ 736386 h 884702"/>
                <a:gd name="csX160" fmla="*/ 421899 w 1006844"/>
                <a:gd name="csY160" fmla="*/ 777313 h 884702"/>
                <a:gd name="csX161" fmla="*/ 409108 w 1006844"/>
                <a:gd name="csY161" fmla="*/ 790104 h 884702"/>
                <a:gd name="csX162" fmla="*/ 421899 w 1006844"/>
                <a:gd name="csY162" fmla="*/ 802895 h 884702"/>
                <a:gd name="csX163" fmla="*/ 434690 w 1006844"/>
                <a:gd name="csY163" fmla="*/ 790104 h 884702"/>
                <a:gd name="csX164" fmla="*/ 421899 w 1006844"/>
                <a:gd name="csY164" fmla="*/ 777313 h 884702"/>
                <a:gd name="csX165" fmla="*/ 421899 w 1006844"/>
                <a:gd name="csY165" fmla="*/ 818217 h 884702"/>
                <a:gd name="csX166" fmla="*/ 409108 w 1006844"/>
                <a:gd name="csY166" fmla="*/ 831008 h 884702"/>
                <a:gd name="csX167" fmla="*/ 421899 w 1006844"/>
                <a:gd name="csY167" fmla="*/ 843799 h 884702"/>
                <a:gd name="csX168" fmla="*/ 434690 w 1006844"/>
                <a:gd name="csY168" fmla="*/ 831008 h 884702"/>
                <a:gd name="csX169" fmla="*/ 421899 w 1006844"/>
                <a:gd name="csY169" fmla="*/ 818217 h 884702"/>
                <a:gd name="csX170" fmla="*/ 421899 w 1006844"/>
                <a:gd name="csY170" fmla="*/ 859121 h 884702"/>
                <a:gd name="csX171" fmla="*/ 409108 w 1006844"/>
                <a:gd name="csY171" fmla="*/ 871912 h 884702"/>
                <a:gd name="csX172" fmla="*/ 421899 w 1006844"/>
                <a:gd name="csY172" fmla="*/ 884703 h 884702"/>
                <a:gd name="csX173" fmla="*/ 434690 w 1006844"/>
                <a:gd name="csY173" fmla="*/ 871912 h 884702"/>
                <a:gd name="csX174" fmla="*/ 421899 w 1006844"/>
                <a:gd name="csY174" fmla="*/ 859121 h 884702"/>
                <a:gd name="csX175" fmla="*/ 380972 w 1006844"/>
                <a:gd name="csY175" fmla="*/ 0 h 884702"/>
                <a:gd name="csX176" fmla="*/ 368181 w 1006844"/>
                <a:gd name="csY176" fmla="*/ 12791 h 884702"/>
                <a:gd name="csX177" fmla="*/ 380972 w 1006844"/>
                <a:gd name="csY177" fmla="*/ 25582 h 884702"/>
                <a:gd name="csX178" fmla="*/ 393763 w 1006844"/>
                <a:gd name="csY178" fmla="*/ 12791 h 884702"/>
                <a:gd name="csX179" fmla="*/ 380972 w 1006844"/>
                <a:gd name="csY179" fmla="*/ 0 h 884702"/>
                <a:gd name="csX180" fmla="*/ 380972 w 1006844"/>
                <a:gd name="csY180" fmla="*/ 40904 h 884702"/>
                <a:gd name="csX181" fmla="*/ 368181 w 1006844"/>
                <a:gd name="csY181" fmla="*/ 53695 h 884702"/>
                <a:gd name="csX182" fmla="*/ 380972 w 1006844"/>
                <a:gd name="csY182" fmla="*/ 66486 h 884702"/>
                <a:gd name="csX183" fmla="*/ 393763 w 1006844"/>
                <a:gd name="csY183" fmla="*/ 53695 h 884702"/>
                <a:gd name="csX184" fmla="*/ 380972 w 1006844"/>
                <a:gd name="csY184" fmla="*/ 40904 h 884702"/>
                <a:gd name="csX185" fmla="*/ 380972 w 1006844"/>
                <a:gd name="csY185" fmla="*/ 81831 h 884702"/>
                <a:gd name="csX186" fmla="*/ 368181 w 1006844"/>
                <a:gd name="csY186" fmla="*/ 94622 h 884702"/>
                <a:gd name="csX187" fmla="*/ 380972 w 1006844"/>
                <a:gd name="csY187" fmla="*/ 107413 h 884702"/>
                <a:gd name="csX188" fmla="*/ 393763 w 1006844"/>
                <a:gd name="csY188" fmla="*/ 94622 h 884702"/>
                <a:gd name="csX189" fmla="*/ 380972 w 1006844"/>
                <a:gd name="csY189" fmla="*/ 81831 h 884702"/>
                <a:gd name="csX190" fmla="*/ 380972 w 1006844"/>
                <a:gd name="csY190" fmla="*/ 122735 h 884702"/>
                <a:gd name="csX191" fmla="*/ 368181 w 1006844"/>
                <a:gd name="csY191" fmla="*/ 135526 h 884702"/>
                <a:gd name="csX192" fmla="*/ 380972 w 1006844"/>
                <a:gd name="csY192" fmla="*/ 148317 h 884702"/>
                <a:gd name="csX193" fmla="*/ 393763 w 1006844"/>
                <a:gd name="csY193" fmla="*/ 135526 h 884702"/>
                <a:gd name="csX194" fmla="*/ 380972 w 1006844"/>
                <a:gd name="csY194" fmla="*/ 122735 h 884702"/>
                <a:gd name="csX195" fmla="*/ 380972 w 1006844"/>
                <a:gd name="csY195" fmla="*/ 163639 h 884702"/>
                <a:gd name="csX196" fmla="*/ 368181 w 1006844"/>
                <a:gd name="csY196" fmla="*/ 176430 h 884702"/>
                <a:gd name="csX197" fmla="*/ 380972 w 1006844"/>
                <a:gd name="csY197" fmla="*/ 189221 h 884702"/>
                <a:gd name="csX198" fmla="*/ 393763 w 1006844"/>
                <a:gd name="csY198" fmla="*/ 176430 h 884702"/>
                <a:gd name="csX199" fmla="*/ 380972 w 1006844"/>
                <a:gd name="csY199" fmla="*/ 163639 h 884702"/>
                <a:gd name="csX200" fmla="*/ 380972 w 1006844"/>
                <a:gd name="csY200" fmla="*/ 204543 h 884702"/>
                <a:gd name="csX201" fmla="*/ 368181 w 1006844"/>
                <a:gd name="csY201" fmla="*/ 217334 h 884702"/>
                <a:gd name="csX202" fmla="*/ 380972 w 1006844"/>
                <a:gd name="csY202" fmla="*/ 230125 h 884702"/>
                <a:gd name="csX203" fmla="*/ 393763 w 1006844"/>
                <a:gd name="csY203" fmla="*/ 217334 h 884702"/>
                <a:gd name="csX204" fmla="*/ 380972 w 1006844"/>
                <a:gd name="csY204" fmla="*/ 204543 h 884702"/>
                <a:gd name="csX205" fmla="*/ 380972 w 1006844"/>
                <a:gd name="csY205" fmla="*/ 245470 h 884702"/>
                <a:gd name="csX206" fmla="*/ 368181 w 1006844"/>
                <a:gd name="csY206" fmla="*/ 258261 h 884702"/>
                <a:gd name="csX207" fmla="*/ 380972 w 1006844"/>
                <a:gd name="csY207" fmla="*/ 271052 h 884702"/>
                <a:gd name="csX208" fmla="*/ 393763 w 1006844"/>
                <a:gd name="csY208" fmla="*/ 258261 h 884702"/>
                <a:gd name="csX209" fmla="*/ 380972 w 1006844"/>
                <a:gd name="csY209" fmla="*/ 245470 h 884702"/>
                <a:gd name="csX210" fmla="*/ 380972 w 1006844"/>
                <a:gd name="csY210" fmla="*/ 409108 h 884702"/>
                <a:gd name="csX211" fmla="*/ 368181 w 1006844"/>
                <a:gd name="csY211" fmla="*/ 421899 h 884702"/>
                <a:gd name="csX212" fmla="*/ 380972 w 1006844"/>
                <a:gd name="csY212" fmla="*/ 434690 h 884702"/>
                <a:gd name="csX213" fmla="*/ 393763 w 1006844"/>
                <a:gd name="csY213" fmla="*/ 421899 h 884702"/>
                <a:gd name="csX214" fmla="*/ 380972 w 1006844"/>
                <a:gd name="csY214" fmla="*/ 409108 h 884702"/>
                <a:gd name="csX215" fmla="*/ 380972 w 1006844"/>
                <a:gd name="csY215" fmla="*/ 450012 h 884702"/>
                <a:gd name="csX216" fmla="*/ 368181 w 1006844"/>
                <a:gd name="csY216" fmla="*/ 462803 h 884702"/>
                <a:gd name="csX217" fmla="*/ 380972 w 1006844"/>
                <a:gd name="csY217" fmla="*/ 475594 h 884702"/>
                <a:gd name="csX218" fmla="*/ 393763 w 1006844"/>
                <a:gd name="csY218" fmla="*/ 462803 h 884702"/>
                <a:gd name="csX219" fmla="*/ 380972 w 1006844"/>
                <a:gd name="csY219" fmla="*/ 450012 h 884702"/>
                <a:gd name="csX220" fmla="*/ 380972 w 1006844"/>
                <a:gd name="csY220" fmla="*/ 490939 h 884702"/>
                <a:gd name="csX221" fmla="*/ 368181 w 1006844"/>
                <a:gd name="csY221" fmla="*/ 503730 h 884702"/>
                <a:gd name="csX222" fmla="*/ 380972 w 1006844"/>
                <a:gd name="csY222" fmla="*/ 516521 h 884702"/>
                <a:gd name="csX223" fmla="*/ 393763 w 1006844"/>
                <a:gd name="csY223" fmla="*/ 503730 h 884702"/>
                <a:gd name="csX224" fmla="*/ 380972 w 1006844"/>
                <a:gd name="csY224" fmla="*/ 490939 h 884702"/>
                <a:gd name="csX225" fmla="*/ 380972 w 1006844"/>
                <a:gd name="csY225" fmla="*/ 531843 h 884702"/>
                <a:gd name="csX226" fmla="*/ 368181 w 1006844"/>
                <a:gd name="csY226" fmla="*/ 544634 h 884702"/>
                <a:gd name="csX227" fmla="*/ 380972 w 1006844"/>
                <a:gd name="csY227" fmla="*/ 557425 h 884702"/>
                <a:gd name="csX228" fmla="*/ 393763 w 1006844"/>
                <a:gd name="csY228" fmla="*/ 544634 h 884702"/>
                <a:gd name="csX229" fmla="*/ 380972 w 1006844"/>
                <a:gd name="csY229" fmla="*/ 531843 h 884702"/>
                <a:gd name="csX230" fmla="*/ 380972 w 1006844"/>
                <a:gd name="csY230" fmla="*/ 572747 h 884702"/>
                <a:gd name="csX231" fmla="*/ 368181 w 1006844"/>
                <a:gd name="csY231" fmla="*/ 585538 h 884702"/>
                <a:gd name="csX232" fmla="*/ 380972 w 1006844"/>
                <a:gd name="csY232" fmla="*/ 598329 h 884702"/>
                <a:gd name="csX233" fmla="*/ 393763 w 1006844"/>
                <a:gd name="csY233" fmla="*/ 585538 h 884702"/>
                <a:gd name="csX234" fmla="*/ 380972 w 1006844"/>
                <a:gd name="csY234" fmla="*/ 572747 h 884702"/>
                <a:gd name="csX235" fmla="*/ 380972 w 1006844"/>
                <a:gd name="csY235" fmla="*/ 613674 h 884702"/>
                <a:gd name="csX236" fmla="*/ 368181 w 1006844"/>
                <a:gd name="csY236" fmla="*/ 626465 h 884702"/>
                <a:gd name="csX237" fmla="*/ 380972 w 1006844"/>
                <a:gd name="csY237" fmla="*/ 639256 h 884702"/>
                <a:gd name="csX238" fmla="*/ 393763 w 1006844"/>
                <a:gd name="csY238" fmla="*/ 626465 h 884702"/>
                <a:gd name="csX239" fmla="*/ 380972 w 1006844"/>
                <a:gd name="csY239" fmla="*/ 613674 h 884702"/>
                <a:gd name="csX240" fmla="*/ 380972 w 1006844"/>
                <a:gd name="csY240" fmla="*/ 654578 h 884702"/>
                <a:gd name="csX241" fmla="*/ 368181 w 1006844"/>
                <a:gd name="csY241" fmla="*/ 667369 h 884702"/>
                <a:gd name="csX242" fmla="*/ 380972 w 1006844"/>
                <a:gd name="csY242" fmla="*/ 680160 h 884702"/>
                <a:gd name="csX243" fmla="*/ 393763 w 1006844"/>
                <a:gd name="csY243" fmla="*/ 667369 h 884702"/>
                <a:gd name="csX244" fmla="*/ 380972 w 1006844"/>
                <a:gd name="csY244" fmla="*/ 654578 h 884702"/>
                <a:gd name="csX245" fmla="*/ 380972 w 1006844"/>
                <a:gd name="csY245" fmla="*/ 695482 h 884702"/>
                <a:gd name="csX246" fmla="*/ 368181 w 1006844"/>
                <a:gd name="csY246" fmla="*/ 708273 h 884702"/>
                <a:gd name="csX247" fmla="*/ 380972 w 1006844"/>
                <a:gd name="csY247" fmla="*/ 721064 h 884702"/>
                <a:gd name="csX248" fmla="*/ 393763 w 1006844"/>
                <a:gd name="csY248" fmla="*/ 708273 h 884702"/>
                <a:gd name="csX249" fmla="*/ 380972 w 1006844"/>
                <a:gd name="csY249" fmla="*/ 695482 h 884702"/>
                <a:gd name="csX250" fmla="*/ 380972 w 1006844"/>
                <a:gd name="csY250" fmla="*/ 736386 h 884702"/>
                <a:gd name="csX251" fmla="*/ 368181 w 1006844"/>
                <a:gd name="csY251" fmla="*/ 749177 h 884702"/>
                <a:gd name="csX252" fmla="*/ 380972 w 1006844"/>
                <a:gd name="csY252" fmla="*/ 761968 h 884702"/>
                <a:gd name="csX253" fmla="*/ 393763 w 1006844"/>
                <a:gd name="csY253" fmla="*/ 749177 h 884702"/>
                <a:gd name="csX254" fmla="*/ 380972 w 1006844"/>
                <a:gd name="csY254" fmla="*/ 736386 h 884702"/>
                <a:gd name="csX255" fmla="*/ 380972 w 1006844"/>
                <a:gd name="csY255" fmla="*/ 777313 h 884702"/>
                <a:gd name="csX256" fmla="*/ 368181 w 1006844"/>
                <a:gd name="csY256" fmla="*/ 790104 h 884702"/>
                <a:gd name="csX257" fmla="*/ 380972 w 1006844"/>
                <a:gd name="csY257" fmla="*/ 802895 h 884702"/>
                <a:gd name="csX258" fmla="*/ 393763 w 1006844"/>
                <a:gd name="csY258" fmla="*/ 790104 h 884702"/>
                <a:gd name="csX259" fmla="*/ 380972 w 1006844"/>
                <a:gd name="csY259" fmla="*/ 777313 h 884702"/>
                <a:gd name="csX260" fmla="*/ 380972 w 1006844"/>
                <a:gd name="csY260" fmla="*/ 818217 h 884702"/>
                <a:gd name="csX261" fmla="*/ 368181 w 1006844"/>
                <a:gd name="csY261" fmla="*/ 831008 h 884702"/>
                <a:gd name="csX262" fmla="*/ 380972 w 1006844"/>
                <a:gd name="csY262" fmla="*/ 843799 h 884702"/>
                <a:gd name="csX263" fmla="*/ 393763 w 1006844"/>
                <a:gd name="csY263" fmla="*/ 831008 h 884702"/>
                <a:gd name="csX264" fmla="*/ 380972 w 1006844"/>
                <a:gd name="csY264" fmla="*/ 818217 h 884702"/>
                <a:gd name="csX265" fmla="*/ 380972 w 1006844"/>
                <a:gd name="csY265" fmla="*/ 859121 h 884702"/>
                <a:gd name="csX266" fmla="*/ 368181 w 1006844"/>
                <a:gd name="csY266" fmla="*/ 871912 h 884702"/>
                <a:gd name="csX267" fmla="*/ 380972 w 1006844"/>
                <a:gd name="csY267" fmla="*/ 884703 h 884702"/>
                <a:gd name="csX268" fmla="*/ 393763 w 1006844"/>
                <a:gd name="csY268" fmla="*/ 871912 h 884702"/>
                <a:gd name="csX269" fmla="*/ 380972 w 1006844"/>
                <a:gd name="csY269" fmla="*/ 859121 h 884702"/>
                <a:gd name="csX270" fmla="*/ 340068 w 1006844"/>
                <a:gd name="csY270" fmla="*/ 0 h 884702"/>
                <a:gd name="csX271" fmla="*/ 327277 w 1006844"/>
                <a:gd name="csY271" fmla="*/ 12791 h 884702"/>
                <a:gd name="csX272" fmla="*/ 340068 w 1006844"/>
                <a:gd name="csY272" fmla="*/ 25582 h 884702"/>
                <a:gd name="csX273" fmla="*/ 352859 w 1006844"/>
                <a:gd name="csY273" fmla="*/ 12791 h 884702"/>
                <a:gd name="csX274" fmla="*/ 340068 w 1006844"/>
                <a:gd name="csY274" fmla="*/ 0 h 884702"/>
                <a:gd name="csX275" fmla="*/ 340068 w 1006844"/>
                <a:gd name="csY275" fmla="*/ 40904 h 884702"/>
                <a:gd name="csX276" fmla="*/ 327277 w 1006844"/>
                <a:gd name="csY276" fmla="*/ 53695 h 884702"/>
                <a:gd name="csX277" fmla="*/ 340068 w 1006844"/>
                <a:gd name="csY277" fmla="*/ 66486 h 884702"/>
                <a:gd name="csX278" fmla="*/ 352859 w 1006844"/>
                <a:gd name="csY278" fmla="*/ 53695 h 884702"/>
                <a:gd name="csX279" fmla="*/ 340068 w 1006844"/>
                <a:gd name="csY279" fmla="*/ 40904 h 884702"/>
                <a:gd name="csX280" fmla="*/ 340068 w 1006844"/>
                <a:gd name="csY280" fmla="*/ 81831 h 884702"/>
                <a:gd name="csX281" fmla="*/ 327277 w 1006844"/>
                <a:gd name="csY281" fmla="*/ 94622 h 884702"/>
                <a:gd name="csX282" fmla="*/ 340068 w 1006844"/>
                <a:gd name="csY282" fmla="*/ 107413 h 884702"/>
                <a:gd name="csX283" fmla="*/ 352859 w 1006844"/>
                <a:gd name="csY283" fmla="*/ 94622 h 884702"/>
                <a:gd name="csX284" fmla="*/ 340068 w 1006844"/>
                <a:gd name="csY284" fmla="*/ 81831 h 884702"/>
                <a:gd name="csX285" fmla="*/ 340068 w 1006844"/>
                <a:gd name="csY285" fmla="*/ 122735 h 884702"/>
                <a:gd name="csX286" fmla="*/ 327277 w 1006844"/>
                <a:gd name="csY286" fmla="*/ 135526 h 884702"/>
                <a:gd name="csX287" fmla="*/ 340068 w 1006844"/>
                <a:gd name="csY287" fmla="*/ 148317 h 884702"/>
                <a:gd name="csX288" fmla="*/ 352859 w 1006844"/>
                <a:gd name="csY288" fmla="*/ 135526 h 884702"/>
                <a:gd name="csX289" fmla="*/ 340068 w 1006844"/>
                <a:gd name="csY289" fmla="*/ 122735 h 884702"/>
                <a:gd name="csX290" fmla="*/ 340068 w 1006844"/>
                <a:gd name="csY290" fmla="*/ 163639 h 884702"/>
                <a:gd name="csX291" fmla="*/ 327277 w 1006844"/>
                <a:gd name="csY291" fmla="*/ 176430 h 884702"/>
                <a:gd name="csX292" fmla="*/ 340068 w 1006844"/>
                <a:gd name="csY292" fmla="*/ 189221 h 884702"/>
                <a:gd name="csX293" fmla="*/ 352859 w 1006844"/>
                <a:gd name="csY293" fmla="*/ 176430 h 884702"/>
                <a:gd name="csX294" fmla="*/ 340068 w 1006844"/>
                <a:gd name="csY294" fmla="*/ 163639 h 884702"/>
                <a:gd name="csX295" fmla="*/ 340068 w 1006844"/>
                <a:gd name="csY295" fmla="*/ 204543 h 884702"/>
                <a:gd name="csX296" fmla="*/ 327277 w 1006844"/>
                <a:gd name="csY296" fmla="*/ 217334 h 884702"/>
                <a:gd name="csX297" fmla="*/ 340068 w 1006844"/>
                <a:gd name="csY297" fmla="*/ 230125 h 884702"/>
                <a:gd name="csX298" fmla="*/ 352859 w 1006844"/>
                <a:gd name="csY298" fmla="*/ 217334 h 884702"/>
                <a:gd name="csX299" fmla="*/ 340068 w 1006844"/>
                <a:gd name="csY299" fmla="*/ 204543 h 884702"/>
                <a:gd name="csX300" fmla="*/ 340068 w 1006844"/>
                <a:gd name="csY300" fmla="*/ 245470 h 884702"/>
                <a:gd name="csX301" fmla="*/ 327277 w 1006844"/>
                <a:gd name="csY301" fmla="*/ 258261 h 884702"/>
                <a:gd name="csX302" fmla="*/ 340068 w 1006844"/>
                <a:gd name="csY302" fmla="*/ 271052 h 884702"/>
                <a:gd name="csX303" fmla="*/ 352859 w 1006844"/>
                <a:gd name="csY303" fmla="*/ 258261 h 884702"/>
                <a:gd name="csX304" fmla="*/ 340068 w 1006844"/>
                <a:gd name="csY304" fmla="*/ 245470 h 884702"/>
                <a:gd name="csX305" fmla="*/ 340068 w 1006844"/>
                <a:gd name="csY305" fmla="*/ 286374 h 884702"/>
                <a:gd name="csX306" fmla="*/ 327277 w 1006844"/>
                <a:gd name="csY306" fmla="*/ 299165 h 884702"/>
                <a:gd name="csX307" fmla="*/ 340068 w 1006844"/>
                <a:gd name="csY307" fmla="*/ 311956 h 884702"/>
                <a:gd name="csX308" fmla="*/ 352859 w 1006844"/>
                <a:gd name="csY308" fmla="*/ 299165 h 884702"/>
                <a:gd name="csX309" fmla="*/ 340068 w 1006844"/>
                <a:gd name="csY309" fmla="*/ 286374 h 884702"/>
                <a:gd name="csX310" fmla="*/ 340068 w 1006844"/>
                <a:gd name="csY310" fmla="*/ 409108 h 884702"/>
                <a:gd name="csX311" fmla="*/ 327277 w 1006844"/>
                <a:gd name="csY311" fmla="*/ 421899 h 884702"/>
                <a:gd name="csX312" fmla="*/ 340068 w 1006844"/>
                <a:gd name="csY312" fmla="*/ 434690 h 884702"/>
                <a:gd name="csX313" fmla="*/ 352859 w 1006844"/>
                <a:gd name="csY313" fmla="*/ 421899 h 884702"/>
                <a:gd name="csX314" fmla="*/ 340068 w 1006844"/>
                <a:gd name="csY314" fmla="*/ 409108 h 884702"/>
                <a:gd name="csX315" fmla="*/ 340068 w 1006844"/>
                <a:gd name="csY315" fmla="*/ 450012 h 884702"/>
                <a:gd name="csX316" fmla="*/ 327277 w 1006844"/>
                <a:gd name="csY316" fmla="*/ 462803 h 884702"/>
                <a:gd name="csX317" fmla="*/ 340068 w 1006844"/>
                <a:gd name="csY317" fmla="*/ 475594 h 884702"/>
                <a:gd name="csX318" fmla="*/ 352859 w 1006844"/>
                <a:gd name="csY318" fmla="*/ 462803 h 884702"/>
                <a:gd name="csX319" fmla="*/ 340068 w 1006844"/>
                <a:gd name="csY319" fmla="*/ 450012 h 884702"/>
                <a:gd name="csX320" fmla="*/ 340068 w 1006844"/>
                <a:gd name="csY320" fmla="*/ 490939 h 884702"/>
                <a:gd name="csX321" fmla="*/ 327277 w 1006844"/>
                <a:gd name="csY321" fmla="*/ 503730 h 884702"/>
                <a:gd name="csX322" fmla="*/ 340068 w 1006844"/>
                <a:gd name="csY322" fmla="*/ 516521 h 884702"/>
                <a:gd name="csX323" fmla="*/ 352859 w 1006844"/>
                <a:gd name="csY323" fmla="*/ 503730 h 884702"/>
                <a:gd name="csX324" fmla="*/ 340068 w 1006844"/>
                <a:gd name="csY324" fmla="*/ 490939 h 884702"/>
                <a:gd name="csX325" fmla="*/ 340068 w 1006844"/>
                <a:gd name="csY325" fmla="*/ 531843 h 884702"/>
                <a:gd name="csX326" fmla="*/ 327277 w 1006844"/>
                <a:gd name="csY326" fmla="*/ 544634 h 884702"/>
                <a:gd name="csX327" fmla="*/ 340068 w 1006844"/>
                <a:gd name="csY327" fmla="*/ 557425 h 884702"/>
                <a:gd name="csX328" fmla="*/ 352859 w 1006844"/>
                <a:gd name="csY328" fmla="*/ 544634 h 884702"/>
                <a:gd name="csX329" fmla="*/ 340068 w 1006844"/>
                <a:gd name="csY329" fmla="*/ 531843 h 884702"/>
                <a:gd name="csX330" fmla="*/ 340068 w 1006844"/>
                <a:gd name="csY330" fmla="*/ 572747 h 884702"/>
                <a:gd name="csX331" fmla="*/ 327277 w 1006844"/>
                <a:gd name="csY331" fmla="*/ 585538 h 884702"/>
                <a:gd name="csX332" fmla="*/ 340068 w 1006844"/>
                <a:gd name="csY332" fmla="*/ 598329 h 884702"/>
                <a:gd name="csX333" fmla="*/ 352859 w 1006844"/>
                <a:gd name="csY333" fmla="*/ 585538 h 884702"/>
                <a:gd name="csX334" fmla="*/ 340068 w 1006844"/>
                <a:gd name="csY334" fmla="*/ 572747 h 884702"/>
                <a:gd name="csX335" fmla="*/ 340068 w 1006844"/>
                <a:gd name="csY335" fmla="*/ 613674 h 884702"/>
                <a:gd name="csX336" fmla="*/ 327277 w 1006844"/>
                <a:gd name="csY336" fmla="*/ 626465 h 884702"/>
                <a:gd name="csX337" fmla="*/ 340068 w 1006844"/>
                <a:gd name="csY337" fmla="*/ 639256 h 884702"/>
                <a:gd name="csX338" fmla="*/ 352859 w 1006844"/>
                <a:gd name="csY338" fmla="*/ 626465 h 884702"/>
                <a:gd name="csX339" fmla="*/ 340068 w 1006844"/>
                <a:gd name="csY339" fmla="*/ 613674 h 884702"/>
                <a:gd name="csX340" fmla="*/ 340068 w 1006844"/>
                <a:gd name="csY340" fmla="*/ 654578 h 884702"/>
                <a:gd name="csX341" fmla="*/ 327277 w 1006844"/>
                <a:gd name="csY341" fmla="*/ 667369 h 884702"/>
                <a:gd name="csX342" fmla="*/ 340068 w 1006844"/>
                <a:gd name="csY342" fmla="*/ 680160 h 884702"/>
                <a:gd name="csX343" fmla="*/ 352859 w 1006844"/>
                <a:gd name="csY343" fmla="*/ 667369 h 884702"/>
                <a:gd name="csX344" fmla="*/ 340068 w 1006844"/>
                <a:gd name="csY344" fmla="*/ 654578 h 884702"/>
                <a:gd name="csX345" fmla="*/ 340068 w 1006844"/>
                <a:gd name="csY345" fmla="*/ 695482 h 884702"/>
                <a:gd name="csX346" fmla="*/ 327277 w 1006844"/>
                <a:gd name="csY346" fmla="*/ 708273 h 884702"/>
                <a:gd name="csX347" fmla="*/ 340068 w 1006844"/>
                <a:gd name="csY347" fmla="*/ 721064 h 884702"/>
                <a:gd name="csX348" fmla="*/ 352859 w 1006844"/>
                <a:gd name="csY348" fmla="*/ 708273 h 884702"/>
                <a:gd name="csX349" fmla="*/ 340068 w 1006844"/>
                <a:gd name="csY349" fmla="*/ 695482 h 884702"/>
                <a:gd name="csX350" fmla="*/ 340068 w 1006844"/>
                <a:gd name="csY350" fmla="*/ 736386 h 884702"/>
                <a:gd name="csX351" fmla="*/ 327277 w 1006844"/>
                <a:gd name="csY351" fmla="*/ 749177 h 884702"/>
                <a:gd name="csX352" fmla="*/ 340068 w 1006844"/>
                <a:gd name="csY352" fmla="*/ 761968 h 884702"/>
                <a:gd name="csX353" fmla="*/ 352859 w 1006844"/>
                <a:gd name="csY353" fmla="*/ 749177 h 884702"/>
                <a:gd name="csX354" fmla="*/ 340068 w 1006844"/>
                <a:gd name="csY354" fmla="*/ 736386 h 884702"/>
                <a:gd name="csX355" fmla="*/ 340068 w 1006844"/>
                <a:gd name="csY355" fmla="*/ 777313 h 884702"/>
                <a:gd name="csX356" fmla="*/ 327277 w 1006844"/>
                <a:gd name="csY356" fmla="*/ 790104 h 884702"/>
                <a:gd name="csX357" fmla="*/ 340068 w 1006844"/>
                <a:gd name="csY357" fmla="*/ 802895 h 884702"/>
                <a:gd name="csX358" fmla="*/ 352859 w 1006844"/>
                <a:gd name="csY358" fmla="*/ 790104 h 884702"/>
                <a:gd name="csX359" fmla="*/ 340068 w 1006844"/>
                <a:gd name="csY359" fmla="*/ 777313 h 884702"/>
                <a:gd name="csX360" fmla="*/ 340068 w 1006844"/>
                <a:gd name="csY360" fmla="*/ 818217 h 884702"/>
                <a:gd name="csX361" fmla="*/ 327277 w 1006844"/>
                <a:gd name="csY361" fmla="*/ 831008 h 884702"/>
                <a:gd name="csX362" fmla="*/ 340068 w 1006844"/>
                <a:gd name="csY362" fmla="*/ 843799 h 884702"/>
                <a:gd name="csX363" fmla="*/ 352859 w 1006844"/>
                <a:gd name="csY363" fmla="*/ 831008 h 884702"/>
                <a:gd name="csX364" fmla="*/ 340068 w 1006844"/>
                <a:gd name="csY364" fmla="*/ 818217 h 884702"/>
                <a:gd name="csX365" fmla="*/ 340068 w 1006844"/>
                <a:gd name="csY365" fmla="*/ 859121 h 884702"/>
                <a:gd name="csX366" fmla="*/ 327277 w 1006844"/>
                <a:gd name="csY366" fmla="*/ 871912 h 884702"/>
                <a:gd name="csX367" fmla="*/ 340068 w 1006844"/>
                <a:gd name="csY367" fmla="*/ 884703 h 884702"/>
                <a:gd name="csX368" fmla="*/ 352859 w 1006844"/>
                <a:gd name="csY368" fmla="*/ 871912 h 884702"/>
                <a:gd name="csX369" fmla="*/ 340068 w 1006844"/>
                <a:gd name="csY369" fmla="*/ 859121 h 884702"/>
                <a:gd name="csX370" fmla="*/ 299164 w 1006844"/>
                <a:gd name="csY370" fmla="*/ 0 h 884702"/>
                <a:gd name="csX371" fmla="*/ 286373 w 1006844"/>
                <a:gd name="csY371" fmla="*/ 12791 h 884702"/>
                <a:gd name="csX372" fmla="*/ 299164 w 1006844"/>
                <a:gd name="csY372" fmla="*/ 25582 h 884702"/>
                <a:gd name="csX373" fmla="*/ 311956 w 1006844"/>
                <a:gd name="csY373" fmla="*/ 12791 h 884702"/>
                <a:gd name="csX374" fmla="*/ 299164 w 1006844"/>
                <a:gd name="csY374" fmla="*/ 0 h 884702"/>
                <a:gd name="csX375" fmla="*/ 299164 w 1006844"/>
                <a:gd name="csY375" fmla="*/ 40904 h 884702"/>
                <a:gd name="csX376" fmla="*/ 286373 w 1006844"/>
                <a:gd name="csY376" fmla="*/ 53695 h 884702"/>
                <a:gd name="csX377" fmla="*/ 299164 w 1006844"/>
                <a:gd name="csY377" fmla="*/ 66486 h 884702"/>
                <a:gd name="csX378" fmla="*/ 311956 w 1006844"/>
                <a:gd name="csY378" fmla="*/ 53695 h 884702"/>
                <a:gd name="csX379" fmla="*/ 299164 w 1006844"/>
                <a:gd name="csY379" fmla="*/ 40904 h 884702"/>
                <a:gd name="csX380" fmla="*/ 299164 w 1006844"/>
                <a:gd name="csY380" fmla="*/ 81831 h 884702"/>
                <a:gd name="csX381" fmla="*/ 286373 w 1006844"/>
                <a:gd name="csY381" fmla="*/ 94622 h 884702"/>
                <a:gd name="csX382" fmla="*/ 299164 w 1006844"/>
                <a:gd name="csY382" fmla="*/ 107413 h 884702"/>
                <a:gd name="csX383" fmla="*/ 311956 w 1006844"/>
                <a:gd name="csY383" fmla="*/ 94622 h 884702"/>
                <a:gd name="csX384" fmla="*/ 299164 w 1006844"/>
                <a:gd name="csY384" fmla="*/ 81831 h 884702"/>
                <a:gd name="csX385" fmla="*/ 299164 w 1006844"/>
                <a:gd name="csY385" fmla="*/ 122735 h 884702"/>
                <a:gd name="csX386" fmla="*/ 286373 w 1006844"/>
                <a:gd name="csY386" fmla="*/ 135526 h 884702"/>
                <a:gd name="csX387" fmla="*/ 299164 w 1006844"/>
                <a:gd name="csY387" fmla="*/ 148317 h 884702"/>
                <a:gd name="csX388" fmla="*/ 311956 w 1006844"/>
                <a:gd name="csY388" fmla="*/ 135526 h 884702"/>
                <a:gd name="csX389" fmla="*/ 299164 w 1006844"/>
                <a:gd name="csY389" fmla="*/ 122735 h 884702"/>
                <a:gd name="csX390" fmla="*/ 299164 w 1006844"/>
                <a:gd name="csY390" fmla="*/ 163639 h 884702"/>
                <a:gd name="csX391" fmla="*/ 286373 w 1006844"/>
                <a:gd name="csY391" fmla="*/ 176430 h 884702"/>
                <a:gd name="csX392" fmla="*/ 299164 w 1006844"/>
                <a:gd name="csY392" fmla="*/ 189221 h 884702"/>
                <a:gd name="csX393" fmla="*/ 311956 w 1006844"/>
                <a:gd name="csY393" fmla="*/ 176430 h 884702"/>
                <a:gd name="csX394" fmla="*/ 299164 w 1006844"/>
                <a:gd name="csY394" fmla="*/ 163639 h 884702"/>
                <a:gd name="csX395" fmla="*/ 299164 w 1006844"/>
                <a:gd name="csY395" fmla="*/ 204543 h 884702"/>
                <a:gd name="csX396" fmla="*/ 286373 w 1006844"/>
                <a:gd name="csY396" fmla="*/ 217334 h 884702"/>
                <a:gd name="csX397" fmla="*/ 299164 w 1006844"/>
                <a:gd name="csY397" fmla="*/ 230125 h 884702"/>
                <a:gd name="csX398" fmla="*/ 311956 w 1006844"/>
                <a:gd name="csY398" fmla="*/ 217334 h 884702"/>
                <a:gd name="csX399" fmla="*/ 299164 w 1006844"/>
                <a:gd name="csY399" fmla="*/ 204543 h 884702"/>
                <a:gd name="csX400" fmla="*/ 299164 w 1006844"/>
                <a:gd name="csY400" fmla="*/ 245470 h 884702"/>
                <a:gd name="csX401" fmla="*/ 286373 w 1006844"/>
                <a:gd name="csY401" fmla="*/ 258261 h 884702"/>
                <a:gd name="csX402" fmla="*/ 299164 w 1006844"/>
                <a:gd name="csY402" fmla="*/ 271052 h 884702"/>
                <a:gd name="csX403" fmla="*/ 311956 w 1006844"/>
                <a:gd name="csY403" fmla="*/ 258261 h 884702"/>
                <a:gd name="csX404" fmla="*/ 299164 w 1006844"/>
                <a:gd name="csY404" fmla="*/ 245470 h 884702"/>
                <a:gd name="csX405" fmla="*/ 299164 w 1006844"/>
                <a:gd name="csY405" fmla="*/ 286374 h 884702"/>
                <a:gd name="csX406" fmla="*/ 286373 w 1006844"/>
                <a:gd name="csY406" fmla="*/ 299165 h 884702"/>
                <a:gd name="csX407" fmla="*/ 299164 w 1006844"/>
                <a:gd name="csY407" fmla="*/ 311956 h 884702"/>
                <a:gd name="csX408" fmla="*/ 311956 w 1006844"/>
                <a:gd name="csY408" fmla="*/ 299165 h 884702"/>
                <a:gd name="csX409" fmla="*/ 299164 w 1006844"/>
                <a:gd name="csY409" fmla="*/ 286374 h 884702"/>
                <a:gd name="csX410" fmla="*/ 299164 w 1006844"/>
                <a:gd name="csY410" fmla="*/ 327277 h 884702"/>
                <a:gd name="csX411" fmla="*/ 286373 w 1006844"/>
                <a:gd name="csY411" fmla="*/ 340069 h 884702"/>
                <a:gd name="csX412" fmla="*/ 299164 w 1006844"/>
                <a:gd name="csY412" fmla="*/ 352860 h 884702"/>
                <a:gd name="csX413" fmla="*/ 311956 w 1006844"/>
                <a:gd name="csY413" fmla="*/ 340069 h 884702"/>
                <a:gd name="csX414" fmla="*/ 299164 w 1006844"/>
                <a:gd name="csY414" fmla="*/ 327277 h 884702"/>
                <a:gd name="csX415" fmla="*/ 299164 w 1006844"/>
                <a:gd name="csY415" fmla="*/ 409108 h 884702"/>
                <a:gd name="csX416" fmla="*/ 286373 w 1006844"/>
                <a:gd name="csY416" fmla="*/ 421899 h 884702"/>
                <a:gd name="csX417" fmla="*/ 299164 w 1006844"/>
                <a:gd name="csY417" fmla="*/ 434690 h 884702"/>
                <a:gd name="csX418" fmla="*/ 311956 w 1006844"/>
                <a:gd name="csY418" fmla="*/ 421899 h 884702"/>
                <a:gd name="csX419" fmla="*/ 299164 w 1006844"/>
                <a:gd name="csY419" fmla="*/ 409108 h 884702"/>
                <a:gd name="csX420" fmla="*/ 299164 w 1006844"/>
                <a:gd name="csY420" fmla="*/ 450012 h 884702"/>
                <a:gd name="csX421" fmla="*/ 286373 w 1006844"/>
                <a:gd name="csY421" fmla="*/ 462803 h 884702"/>
                <a:gd name="csX422" fmla="*/ 299164 w 1006844"/>
                <a:gd name="csY422" fmla="*/ 475594 h 884702"/>
                <a:gd name="csX423" fmla="*/ 311956 w 1006844"/>
                <a:gd name="csY423" fmla="*/ 462803 h 884702"/>
                <a:gd name="csX424" fmla="*/ 299164 w 1006844"/>
                <a:gd name="csY424" fmla="*/ 450012 h 884702"/>
                <a:gd name="csX425" fmla="*/ 299164 w 1006844"/>
                <a:gd name="csY425" fmla="*/ 490939 h 884702"/>
                <a:gd name="csX426" fmla="*/ 286373 w 1006844"/>
                <a:gd name="csY426" fmla="*/ 503730 h 884702"/>
                <a:gd name="csX427" fmla="*/ 299164 w 1006844"/>
                <a:gd name="csY427" fmla="*/ 516521 h 884702"/>
                <a:gd name="csX428" fmla="*/ 311956 w 1006844"/>
                <a:gd name="csY428" fmla="*/ 503730 h 884702"/>
                <a:gd name="csX429" fmla="*/ 299164 w 1006844"/>
                <a:gd name="csY429" fmla="*/ 490939 h 884702"/>
                <a:gd name="csX430" fmla="*/ 299164 w 1006844"/>
                <a:gd name="csY430" fmla="*/ 531843 h 884702"/>
                <a:gd name="csX431" fmla="*/ 286373 w 1006844"/>
                <a:gd name="csY431" fmla="*/ 544634 h 884702"/>
                <a:gd name="csX432" fmla="*/ 299164 w 1006844"/>
                <a:gd name="csY432" fmla="*/ 557425 h 884702"/>
                <a:gd name="csX433" fmla="*/ 311956 w 1006844"/>
                <a:gd name="csY433" fmla="*/ 544634 h 884702"/>
                <a:gd name="csX434" fmla="*/ 299164 w 1006844"/>
                <a:gd name="csY434" fmla="*/ 531843 h 884702"/>
                <a:gd name="csX435" fmla="*/ 299164 w 1006844"/>
                <a:gd name="csY435" fmla="*/ 572747 h 884702"/>
                <a:gd name="csX436" fmla="*/ 286373 w 1006844"/>
                <a:gd name="csY436" fmla="*/ 585538 h 884702"/>
                <a:gd name="csX437" fmla="*/ 299164 w 1006844"/>
                <a:gd name="csY437" fmla="*/ 598329 h 884702"/>
                <a:gd name="csX438" fmla="*/ 311956 w 1006844"/>
                <a:gd name="csY438" fmla="*/ 585538 h 884702"/>
                <a:gd name="csX439" fmla="*/ 299164 w 1006844"/>
                <a:gd name="csY439" fmla="*/ 572747 h 884702"/>
                <a:gd name="csX440" fmla="*/ 299164 w 1006844"/>
                <a:gd name="csY440" fmla="*/ 613674 h 884702"/>
                <a:gd name="csX441" fmla="*/ 286373 w 1006844"/>
                <a:gd name="csY441" fmla="*/ 626465 h 884702"/>
                <a:gd name="csX442" fmla="*/ 299164 w 1006844"/>
                <a:gd name="csY442" fmla="*/ 639256 h 884702"/>
                <a:gd name="csX443" fmla="*/ 311956 w 1006844"/>
                <a:gd name="csY443" fmla="*/ 626465 h 884702"/>
                <a:gd name="csX444" fmla="*/ 299164 w 1006844"/>
                <a:gd name="csY444" fmla="*/ 613674 h 884702"/>
                <a:gd name="csX445" fmla="*/ 299164 w 1006844"/>
                <a:gd name="csY445" fmla="*/ 654578 h 884702"/>
                <a:gd name="csX446" fmla="*/ 286373 w 1006844"/>
                <a:gd name="csY446" fmla="*/ 667369 h 884702"/>
                <a:gd name="csX447" fmla="*/ 299164 w 1006844"/>
                <a:gd name="csY447" fmla="*/ 680160 h 884702"/>
                <a:gd name="csX448" fmla="*/ 311956 w 1006844"/>
                <a:gd name="csY448" fmla="*/ 667369 h 884702"/>
                <a:gd name="csX449" fmla="*/ 299164 w 1006844"/>
                <a:gd name="csY449" fmla="*/ 654578 h 884702"/>
                <a:gd name="csX450" fmla="*/ 299164 w 1006844"/>
                <a:gd name="csY450" fmla="*/ 695482 h 884702"/>
                <a:gd name="csX451" fmla="*/ 286373 w 1006844"/>
                <a:gd name="csY451" fmla="*/ 708273 h 884702"/>
                <a:gd name="csX452" fmla="*/ 299164 w 1006844"/>
                <a:gd name="csY452" fmla="*/ 721064 h 884702"/>
                <a:gd name="csX453" fmla="*/ 311956 w 1006844"/>
                <a:gd name="csY453" fmla="*/ 708273 h 884702"/>
                <a:gd name="csX454" fmla="*/ 299164 w 1006844"/>
                <a:gd name="csY454" fmla="*/ 695482 h 884702"/>
                <a:gd name="csX455" fmla="*/ 299164 w 1006844"/>
                <a:gd name="csY455" fmla="*/ 736386 h 884702"/>
                <a:gd name="csX456" fmla="*/ 286373 w 1006844"/>
                <a:gd name="csY456" fmla="*/ 749177 h 884702"/>
                <a:gd name="csX457" fmla="*/ 299164 w 1006844"/>
                <a:gd name="csY457" fmla="*/ 761968 h 884702"/>
                <a:gd name="csX458" fmla="*/ 311956 w 1006844"/>
                <a:gd name="csY458" fmla="*/ 749177 h 884702"/>
                <a:gd name="csX459" fmla="*/ 299164 w 1006844"/>
                <a:gd name="csY459" fmla="*/ 736386 h 884702"/>
                <a:gd name="csX460" fmla="*/ 299164 w 1006844"/>
                <a:gd name="csY460" fmla="*/ 777313 h 884702"/>
                <a:gd name="csX461" fmla="*/ 286373 w 1006844"/>
                <a:gd name="csY461" fmla="*/ 790104 h 884702"/>
                <a:gd name="csX462" fmla="*/ 299164 w 1006844"/>
                <a:gd name="csY462" fmla="*/ 802895 h 884702"/>
                <a:gd name="csX463" fmla="*/ 311956 w 1006844"/>
                <a:gd name="csY463" fmla="*/ 790104 h 884702"/>
                <a:gd name="csX464" fmla="*/ 299164 w 1006844"/>
                <a:gd name="csY464" fmla="*/ 777313 h 884702"/>
                <a:gd name="csX465" fmla="*/ 299164 w 1006844"/>
                <a:gd name="csY465" fmla="*/ 818217 h 884702"/>
                <a:gd name="csX466" fmla="*/ 286373 w 1006844"/>
                <a:gd name="csY466" fmla="*/ 831008 h 884702"/>
                <a:gd name="csX467" fmla="*/ 299164 w 1006844"/>
                <a:gd name="csY467" fmla="*/ 843799 h 884702"/>
                <a:gd name="csX468" fmla="*/ 311956 w 1006844"/>
                <a:gd name="csY468" fmla="*/ 831008 h 884702"/>
                <a:gd name="csX469" fmla="*/ 299164 w 1006844"/>
                <a:gd name="csY469" fmla="*/ 818217 h 884702"/>
                <a:gd name="csX470" fmla="*/ 299164 w 1006844"/>
                <a:gd name="csY470" fmla="*/ 859121 h 884702"/>
                <a:gd name="csX471" fmla="*/ 286373 w 1006844"/>
                <a:gd name="csY471" fmla="*/ 871912 h 884702"/>
                <a:gd name="csX472" fmla="*/ 299164 w 1006844"/>
                <a:gd name="csY472" fmla="*/ 884703 h 884702"/>
                <a:gd name="csX473" fmla="*/ 311956 w 1006844"/>
                <a:gd name="csY473" fmla="*/ 871912 h 884702"/>
                <a:gd name="csX474" fmla="*/ 299164 w 1006844"/>
                <a:gd name="csY474" fmla="*/ 859121 h 884702"/>
                <a:gd name="csX475" fmla="*/ 258260 w 1006844"/>
                <a:gd name="csY475" fmla="*/ 40904 h 884702"/>
                <a:gd name="csX476" fmla="*/ 245469 w 1006844"/>
                <a:gd name="csY476" fmla="*/ 53695 h 884702"/>
                <a:gd name="csX477" fmla="*/ 258260 w 1006844"/>
                <a:gd name="csY477" fmla="*/ 66486 h 884702"/>
                <a:gd name="csX478" fmla="*/ 271052 w 1006844"/>
                <a:gd name="csY478" fmla="*/ 53695 h 884702"/>
                <a:gd name="csX479" fmla="*/ 258260 w 1006844"/>
                <a:gd name="csY479" fmla="*/ 40904 h 884702"/>
                <a:gd name="csX480" fmla="*/ 258260 w 1006844"/>
                <a:gd name="csY480" fmla="*/ 81831 h 884702"/>
                <a:gd name="csX481" fmla="*/ 245469 w 1006844"/>
                <a:gd name="csY481" fmla="*/ 94622 h 884702"/>
                <a:gd name="csX482" fmla="*/ 258260 w 1006844"/>
                <a:gd name="csY482" fmla="*/ 107413 h 884702"/>
                <a:gd name="csX483" fmla="*/ 271052 w 1006844"/>
                <a:gd name="csY483" fmla="*/ 94622 h 884702"/>
                <a:gd name="csX484" fmla="*/ 258260 w 1006844"/>
                <a:gd name="csY484" fmla="*/ 81831 h 884702"/>
                <a:gd name="csX485" fmla="*/ 258260 w 1006844"/>
                <a:gd name="csY485" fmla="*/ 122735 h 884702"/>
                <a:gd name="csX486" fmla="*/ 245469 w 1006844"/>
                <a:gd name="csY486" fmla="*/ 135526 h 884702"/>
                <a:gd name="csX487" fmla="*/ 258260 w 1006844"/>
                <a:gd name="csY487" fmla="*/ 148317 h 884702"/>
                <a:gd name="csX488" fmla="*/ 271052 w 1006844"/>
                <a:gd name="csY488" fmla="*/ 135526 h 884702"/>
                <a:gd name="csX489" fmla="*/ 258260 w 1006844"/>
                <a:gd name="csY489" fmla="*/ 122735 h 884702"/>
                <a:gd name="csX490" fmla="*/ 258260 w 1006844"/>
                <a:gd name="csY490" fmla="*/ 163639 h 884702"/>
                <a:gd name="csX491" fmla="*/ 245469 w 1006844"/>
                <a:gd name="csY491" fmla="*/ 176430 h 884702"/>
                <a:gd name="csX492" fmla="*/ 258260 w 1006844"/>
                <a:gd name="csY492" fmla="*/ 189221 h 884702"/>
                <a:gd name="csX493" fmla="*/ 271052 w 1006844"/>
                <a:gd name="csY493" fmla="*/ 176430 h 884702"/>
                <a:gd name="csX494" fmla="*/ 258260 w 1006844"/>
                <a:gd name="csY494" fmla="*/ 163639 h 884702"/>
                <a:gd name="csX495" fmla="*/ 258260 w 1006844"/>
                <a:gd name="csY495" fmla="*/ 204543 h 884702"/>
                <a:gd name="csX496" fmla="*/ 245469 w 1006844"/>
                <a:gd name="csY496" fmla="*/ 217334 h 884702"/>
                <a:gd name="csX497" fmla="*/ 258260 w 1006844"/>
                <a:gd name="csY497" fmla="*/ 230125 h 884702"/>
                <a:gd name="csX498" fmla="*/ 271052 w 1006844"/>
                <a:gd name="csY498" fmla="*/ 217334 h 884702"/>
                <a:gd name="csX499" fmla="*/ 258260 w 1006844"/>
                <a:gd name="csY499" fmla="*/ 204543 h 884702"/>
                <a:gd name="csX500" fmla="*/ 258260 w 1006844"/>
                <a:gd name="csY500" fmla="*/ 245470 h 884702"/>
                <a:gd name="csX501" fmla="*/ 245469 w 1006844"/>
                <a:gd name="csY501" fmla="*/ 258261 h 884702"/>
                <a:gd name="csX502" fmla="*/ 258260 w 1006844"/>
                <a:gd name="csY502" fmla="*/ 271052 h 884702"/>
                <a:gd name="csX503" fmla="*/ 271052 w 1006844"/>
                <a:gd name="csY503" fmla="*/ 258261 h 884702"/>
                <a:gd name="csX504" fmla="*/ 258260 w 1006844"/>
                <a:gd name="csY504" fmla="*/ 245470 h 884702"/>
                <a:gd name="csX505" fmla="*/ 258260 w 1006844"/>
                <a:gd name="csY505" fmla="*/ 286374 h 884702"/>
                <a:gd name="csX506" fmla="*/ 245469 w 1006844"/>
                <a:gd name="csY506" fmla="*/ 299165 h 884702"/>
                <a:gd name="csX507" fmla="*/ 258260 w 1006844"/>
                <a:gd name="csY507" fmla="*/ 311956 h 884702"/>
                <a:gd name="csX508" fmla="*/ 271052 w 1006844"/>
                <a:gd name="csY508" fmla="*/ 299165 h 884702"/>
                <a:gd name="csX509" fmla="*/ 258260 w 1006844"/>
                <a:gd name="csY509" fmla="*/ 286374 h 884702"/>
                <a:gd name="csX510" fmla="*/ 258260 w 1006844"/>
                <a:gd name="csY510" fmla="*/ 327277 h 884702"/>
                <a:gd name="csX511" fmla="*/ 245469 w 1006844"/>
                <a:gd name="csY511" fmla="*/ 340069 h 884702"/>
                <a:gd name="csX512" fmla="*/ 258260 w 1006844"/>
                <a:gd name="csY512" fmla="*/ 352860 h 884702"/>
                <a:gd name="csX513" fmla="*/ 271052 w 1006844"/>
                <a:gd name="csY513" fmla="*/ 340069 h 884702"/>
                <a:gd name="csX514" fmla="*/ 258260 w 1006844"/>
                <a:gd name="csY514" fmla="*/ 327277 h 884702"/>
                <a:gd name="csX515" fmla="*/ 258260 w 1006844"/>
                <a:gd name="csY515" fmla="*/ 368204 h 884702"/>
                <a:gd name="csX516" fmla="*/ 245469 w 1006844"/>
                <a:gd name="csY516" fmla="*/ 380995 h 884702"/>
                <a:gd name="csX517" fmla="*/ 258260 w 1006844"/>
                <a:gd name="csY517" fmla="*/ 393786 h 884702"/>
                <a:gd name="csX518" fmla="*/ 271052 w 1006844"/>
                <a:gd name="csY518" fmla="*/ 380995 h 884702"/>
                <a:gd name="csX519" fmla="*/ 258260 w 1006844"/>
                <a:gd name="csY519" fmla="*/ 368204 h 884702"/>
                <a:gd name="csX520" fmla="*/ 258260 w 1006844"/>
                <a:gd name="csY520" fmla="*/ 409108 h 884702"/>
                <a:gd name="csX521" fmla="*/ 245469 w 1006844"/>
                <a:gd name="csY521" fmla="*/ 421899 h 884702"/>
                <a:gd name="csX522" fmla="*/ 258260 w 1006844"/>
                <a:gd name="csY522" fmla="*/ 434690 h 884702"/>
                <a:gd name="csX523" fmla="*/ 271052 w 1006844"/>
                <a:gd name="csY523" fmla="*/ 421899 h 884702"/>
                <a:gd name="csX524" fmla="*/ 258260 w 1006844"/>
                <a:gd name="csY524" fmla="*/ 409108 h 884702"/>
                <a:gd name="csX525" fmla="*/ 258260 w 1006844"/>
                <a:gd name="csY525" fmla="*/ 450012 h 884702"/>
                <a:gd name="csX526" fmla="*/ 245469 w 1006844"/>
                <a:gd name="csY526" fmla="*/ 462803 h 884702"/>
                <a:gd name="csX527" fmla="*/ 258260 w 1006844"/>
                <a:gd name="csY527" fmla="*/ 475594 h 884702"/>
                <a:gd name="csX528" fmla="*/ 271052 w 1006844"/>
                <a:gd name="csY528" fmla="*/ 462803 h 884702"/>
                <a:gd name="csX529" fmla="*/ 258260 w 1006844"/>
                <a:gd name="csY529" fmla="*/ 450012 h 884702"/>
                <a:gd name="csX530" fmla="*/ 258260 w 1006844"/>
                <a:gd name="csY530" fmla="*/ 490939 h 884702"/>
                <a:gd name="csX531" fmla="*/ 245469 w 1006844"/>
                <a:gd name="csY531" fmla="*/ 503730 h 884702"/>
                <a:gd name="csX532" fmla="*/ 258260 w 1006844"/>
                <a:gd name="csY532" fmla="*/ 516521 h 884702"/>
                <a:gd name="csX533" fmla="*/ 271052 w 1006844"/>
                <a:gd name="csY533" fmla="*/ 503730 h 884702"/>
                <a:gd name="csX534" fmla="*/ 258260 w 1006844"/>
                <a:gd name="csY534" fmla="*/ 490939 h 884702"/>
                <a:gd name="csX535" fmla="*/ 258260 w 1006844"/>
                <a:gd name="csY535" fmla="*/ 531843 h 884702"/>
                <a:gd name="csX536" fmla="*/ 245469 w 1006844"/>
                <a:gd name="csY536" fmla="*/ 544634 h 884702"/>
                <a:gd name="csX537" fmla="*/ 258260 w 1006844"/>
                <a:gd name="csY537" fmla="*/ 557425 h 884702"/>
                <a:gd name="csX538" fmla="*/ 271052 w 1006844"/>
                <a:gd name="csY538" fmla="*/ 544634 h 884702"/>
                <a:gd name="csX539" fmla="*/ 258260 w 1006844"/>
                <a:gd name="csY539" fmla="*/ 531843 h 884702"/>
                <a:gd name="csX540" fmla="*/ 258260 w 1006844"/>
                <a:gd name="csY540" fmla="*/ 572747 h 884702"/>
                <a:gd name="csX541" fmla="*/ 245469 w 1006844"/>
                <a:gd name="csY541" fmla="*/ 585538 h 884702"/>
                <a:gd name="csX542" fmla="*/ 258260 w 1006844"/>
                <a:gd name="csY542" fmla="*/ 598329 h 884702"/>
                <a:gd name="csX543" fmla="*/ 271052 w 1006844"/>
                <a:gd name="csY543" fmla="*/ 585538 h 884702"/>
                <a:gd name="csX544" fmla="*/ 258260 w 1006844"/>
                <a:gd name="csY544" fmla="*/ 572747 h 884702"/>
                <a:gd name="csX545" fmla="*/ 258260 w 1006844"/>
                <a:gd name="csY545" fmla="*/ 613674 h 884702"/>
                <a:gd name="csX546" fmla="*/ 245469 w 1006844"/>
                <a:gd name="csY546" fmla="*/ 626465 h 884702"/>
                <a:gd name="csX547" fmla="*/ 258260 w 1006844"/>
                <a:gd name="csY547" fmla="*/ 639256 h 884702"/>
                <a:gd name="csX548" fmla="*/ 271052 w 1006844"/>
                <a:gd name="csY548" fmla="*/ 626465 h 884702"/>
                <a:gd name="csX549" fmla="*/ 258260 w 1006844"/>
                <a:gd name="csY549" fmla="*/ 613674 h 884702"/>
                <a:gd name="csX550" fmla="*/ 258260 w 1006844"/>
                <a:gd name="csY550" fmla="*/ 654578 h 884702"/>
                <a:gd name="csX551" fmla="*/ 245469 w 1006844"/>
                <a:gd name="csY551" fmla="*/ 667369 h 884702"/>
                <a:gd name="csX552" fmla="*/ 258260 w 1006844"/>
                <a:gd name="csY552" fmla="*/ 680160 h 884702"/>
                <a:gd name="csX553" fmla="*/ 271052 w 1006844"/>
                <a:gd name="csY553" fmla="*/ 667369 h 884702"/>
                <a:gd name="csX554" fmla="*/ 258260 w 1006844"/>
                <a:gd name="csY554" fmla="*/ 654578 h 884702"/>
                <a:gd name="csX555" fmla="*/ 258260 w 1006844"/>
                <a:gd name="csY555" fmla="*/ 695482 h 884702"/>
                <a:gd name="csX556" fmla="*/ 245469 w 1006844"/>
                <a:gd name="csY556" fmla="*/ 708273 h 884702"/>
                <a:gd name="csX557" fmla="*/ 258260 w 1006844"/>
                <a:gd name="csY557" fmla="*/ 721064 h 884702"/>
                <a:gd name="csX558" fmla="*/ 271052 w 1006844"/>
                <a:gd name="csY558" fmla="*/ 708273 h 884702"/>
                <a:gd name="csX559" fmla="*/ 258260 w 1006844"/>
                <a:gd name="csY559" fmla="*/ 695482 h 884702"/>
                <a:gd name="csX560" fmla="*/ 258260 w 1006844"/>
                <a:gd name="csY560" fmla="*/ 736386 h 884702"/>
                <a:gd name="csX561" fmla="*/ 245469 w 1006844"/>
                <a:gd name="csY561" fmla="*/ 749177 h 884702"/>
                <a:gd name="csX562" fmla="*/ 258260 w 1006844"/>
                <a:gd name="csY562" fmla="*/ 761968 h 884702"/>
                <a:gd name="csX563" fmla="*/ 271052 w 1006844"/>
                <a:gd name="csY563" fmla="*/ 749177 h 884702"/>
                <a:gd name="csX564" fmla="*/ 258260 w 1006844"/>
                <a:gd name="csY564" fmla="*/ 736386 h 884702"/>
                <a:gd name="csX565" fmla="*/ 258260 w 1006844"/>
                <a:gd name="csY565" fmla="*/ 777313 h 884702"/>
                <a:gd name="csX566" fmla="*/ 245469 w 1006844"/>
                <a:gd name="csY566" fmla="*/ 790104 h 884702"/>
                <a:gd name="csX567" fmla="*/ 258260 w 1006844"/>
                <a:gd name="csY567" fmla="*/ 802895 h 884702"/>
                <a:gd name="csX568" fmla="*/ 271052 w 1006844"/>
                <a:gd name="csY568" fmla="*/ 790104 h 884702"/>
                <a:gd name="csX569" fmla="*/ 258260 w 1006844"/>
                <a:gd name="csY569" fmla="*/ 777313 h 884702"/>
                <a:gd name="csX570" fmla="*/ 258260 w 1006844"/>
                <a:gd name="csY570" fmla="*/ 818217 h 884702"/>
                <a:gd name="csX571" fmla="*/ 245469 w 1006844"/>
                <a:gd name="csY571" fmla="*/ 831008 h 884702"/>
                <a:gd name="csX572" fmla="*/ 258260 w 1006844"/>
                <a:gd name="csY572" fmla="*/ 843799 h 884702"/>
                <a:gd name="csX573" fmla="*/ 271052 w 1006844"/>
                <a:gd name="csY573" fmla="*/ 831008 h 884702"/>
                <a:gd name="csX574" fmla="*/ 258260 w 1006844"/>
                <a:gd name="csY574" fmla="*/ 818217 h 884702"/>
                <a:gd name="csX575" fmla="*/ 258260 w 1006844"/>
                <a:gd name="csY575" fmla="*/ 859121 h 884702"/>
                <a:gd name="csX576" fmla="*/ 245469 w 1006844"/>
                <a:gd name="csY576" fmla="*/ 871912 h 884702"/>
                <a:gd name="csX577" fmla="*/ 258260 w 1006844"/>
                <a:gd name="csY577" fmla="*/ 884703 h 884702"/>
                <a:gd name="csX578" fmla="*/ 271052 w 1006844"/>
                <a:gd name="csY578" fmla="*/ 871912 h 884702"/>
                <a:gd name="csX579" fmla="*/ 258260 w 1006844"/>
                <a:gd name="csY579" fmla="*/ 859121 h 884702"/>
                <a:gd name="csX580" fmla="*/ 217334 w 1006844"/>
                <a:gd name="csY580" fmla="*/ 81831 h 884702"/>
                <a:gd name="csX581" fmla="*/ 204543 w 1006844"/>
                <a:gd name="csY581" fmla="*/ 94622 h 884702"/>
                <a:gd name="csX582" fmla="*/ 217334 w 1006844"/>
                <a:gd name="csY582" fmla="*/ 107413 h 884702"/>
                <a:gd name="csX583" fmla="*/ 230125 w 1006844"/>
                <a:gd name="csY583" fmla="*/ 94622 h 884702"/>
                <a:gd name="csX584" fmla="*/ 217334 w 1006844"/>
                <a:gd name="csY584" fmla="*/ 81831 h 884702"/>
                <a:gd name="csX585" fmla="*/ 217334 w 1006844"/>
                <a:gd name="csY585" fmla="*/ 122735 h 884702"/>
                <a:gd name="csX586" fmla="*/ 204543 w 1006844"/>
                <a:gd name="csY586" fmla="*/ 135526 h 884702"/>
                <a:gd name="csX587" fmla="*/ 217334 w 1006844"/>
                <a:gd name="csY587" fmla="*/ 148317 h 884702"/>
                <a:gd name="csX588" fmla="*/ 230125 w 1006844"/>
                <a:gd name="csY588" fmla="*/ 135526 h 884702"/>
                <a:gd name="csX589" fmla="*/ 217334 w 1006844"/>
                <a:gd name="csY589" fmla="*/ 122735 h 884702"/>
                <a:gd name="csX590" fmla="*/ 217334 w 1006844"/>
                <a:gd name="csY590" fmla="*/ 163639 h 884702"/>
                <a:gd name="csX591" fmla="*/ 204543 w 1006844"/>
                <a:gd name="csY591" fmla="*/ 176430 h 884702"/>
                <a:gd name="csX592" fmla="*/ 217334 w 1006844"/>
                <a:gd name="csY592" fmla="*/ 189221 h 884702"/>
                <a:gd name="csX593" fmla="*/ 230125 w 1006844"/>
                <a:gd name="csY593" fmla="*/ 176430 h 884702"/>
                <a:gd name="csX594" fmla="*/ 217334 w 1006844"/>
                <a:gd name="csY594" fmla="*/ 163639 h 884702"/>
                <a:gd name="csX595" fmla="*/ 217334 w 1006844"/>
                <a:gd name="csY595" fmla="*/ 204543 h 884702"/>
                <a:gd name="csX596" fmla="*/ 204543 w 1006844"/>
                <a:gd name="csY596" fmla="*/ 217334 h 884702"/>
                <a:gd name="csX597" fmla="*/ 217334 w 1006844"/>
                <a:gd name="csY597" fmla="*/ 230125 h 884702"/>
                <a:gd name="csX598" fmla="*/ 230125 w 1006844"/>
                <a:gd name="csY598" fmla="*/ 217334 h 884702"/>
                <a:gd name="csX599" fmla="*/ 217334 w 1006844"/>
                <a:gd name="csY599" fmla="*/ 204543 h 884702"/>
                <a:gd name="csX600" fmla="*/ 217334 w 1006844"/>
                <a:gd name="csY600" fmla="*/ 245470 h 884702"/>
                <a:gd name="csX601" fmla="*/ 204543 w 1006844"/>
                <a:gd name="csY601" fmla="*/ 258261 h 884702"/>
                <a:gd name="csX602" fmla="*/ 217334 w 1006844"/>
                <a:gd name="csY602" fmla="*/ 271052 h 884702"/>
                <a:gd name="csX603" fmla="*/ 230125 w 1006844"/>
                <a:gd name="csY603" fmla="*/ 258261 h 884702"/>
                <a:gd name="csX604" fmla="*/ 217334 w 1006844"/>
                <a:gd name="csY604" fmla="*/ 245470 h 884702"/>
                <a:gd name="csX605" fmla="*/ 217334 w 1006844"/>
                <a:gd name="csY605" fmla="*/ 286374 h 884702"/>
                <a:gd name="csX606" fmla="*/ 204543 w 1006844"/>
                <a:gd name="csY606" fmla="*/ 299165 h 884702"/>
                <a:gd name="csX607" fmla="*/ 217334 w 1006844"/>
                <a:gd name="csY607" fmla="*/ 311956 h 884702"/>
                <a:gd name="csX608" fmla="*/ 230125 w 1006844"/>
                <a:gd name="csY608" fmla="*/ 299165 h 884702"/>
                <a:gd name="csX609" fmla="*/ 217334 w 1006844"/>
                <a:gd name="csY609" fmla="*/ 286374 h 884702"/>
                <a:gd name="csX610" fmla="*/ 217334 w 1006844"/>
                <a:gd name="csY610" fmla="*/ 327277 h 884702"/>
                <a:gd name="csX611" fmla="*/ 204543 w 1006844"/>
                <a:gd name="csY611" fmla="*/ 340069 h 884702"/>
                <a:gd name="csX612" fmla="*/ 217334 w 1006844"/>
                <a:gd name="csY612" fmla="*/ 352860 h 884702"/>
                <a:gd name="csX613" fmla="*/ 230125 w 1006844"/>
                <a:gd name="csY613" fmla="*/ 340069 h 884702"/>
                <a:gd name="csX614" fmla="*/ 217334 w 1006844"/>
                <a:gd name="csY614" fmla="*/ 327277 h 884702"/>
                <a:gd name="csX615" fmla="*/ 217334 w 1006844"/>
                <a:gd name="csY615" fmla="*/ 368204 h 884702"/>
                <a:gd name="csX616" fmla="*/ 204543 w 1006844"/>
                <a:gd name="csY616" fmla="*/ 380995 h 884702"/>
                <a:gd name="csX617" fmla="*/ 217334 w 1006844"/>
                <a:gd name="csY617" fmla="*/ 393786 h 884702"/>
                <a:gd name="csX618" fmla="*/ 230125 w 1006844"/>
                <a:gd name="csY618" fmla="*/ 380995 h 884702"/>
                <a:gd name="csX619" fmla="*/ 217334 w 1006844"/>
                <a:gd name="csY619" fmla="*/ 368204 h 884702"/>
                <a:gd name="csX620" fmla="*/ 217334 w 1006844"/>
                <a:gd name="csY620" fmla="*/ 409108 h 884702"/>
                <a:gd name="csX621" fmla="*/ 204543 w 1006844"/>
                <a:gd name="csY621" fmla="*/ 421899 h 884702"/>
                <a:gd name="csX622" fmla="*/ 217334 w 1006844"/>
                <a:gd name="csY622" fmla="*/ 434690 h 884702"/>
                <a:gd name="csX623" fmla="*/ 230125 w 1006844"/>
                <a:gd name="csY623" fmla="*/ 421899 h 884702"/>
                <a:gd name="csX624" fmla="*/ 217334 w 1006844"/>
                <a:gd name="csY624" fmla="*/ 409108 h 884702"/>
                <a:gd name="csX625" fmla="*/ 217334 w 1006844"/>
                <a:gd name="csY625" fmla="*/ 450012 h 884702"/>
                <a:gd name="csX626" fmla="*/ 204543 w 1006844"/>
                <a:gd name="csY626" fmla="*/ 462803 h 884702"/>
                <a:gd name="csX627" fmla="*/ 217334 w 1006844"/>
                <a:gd name="csY627" fmla="*/ 475594 h 884702"/>
                <a:gd name="csX628" fmla="*/ 230125 w 1006844"/>
                <a:gd name="csY628" fmla="*/ 462803 h 884702"/>
                <a:gd name="csX629" fmla="*/ 217334 w 1006844"/>
                <a:gd name="csY629" fmla="*/ 450012 h 884702"/>
                <a:gd name="csX630" fmla="*/ 217334 w 1006844"/>
                <a:gd name="csY630" fmla="*/ 490939 h 884702"/>
                <a:gd name="csX631" fmla="*/ 204543 w 1006844"/>
                <a:gd name="csY631" fmla="*/ 503730 h 884702"/>
                <a:gd name="csX632" fmla="*/ 217334 w 1006844"/>
                <a:gd name="csY632" fmla="*/ 516521 h 884702"/>
                <a:gd name="csX633" fmla="*/ 230125 w 1006844"/>
                <a:gd name="csY633" fmla="*/ 503730 h 884702"/>
                <a:gd name="csX634" fmla="*/ 217334 w 1006844"/>
                <a:gd name="csY634" fmla="*/ 490939 h 884702"/>
                <a:gd name="csX635" fmla="*/ 217334 w 1006844"/>
                <a:gd name="csY635" fmla="*/ 531843 h 884702"/>
                <a:gd name="csX636" fmla="*/ 204543 w 1006844"/>
                <a:gd name="csY636" fmla="*/ 544634 h 884702"/>
                <a:gd name="csX637" fmla="*/ 217334 w 1006844"/>
                <a:gd name="csY637" fmla="*/ 557425 h 884702"/>
                <a:gd name="csX638" fmla="*/ 230125 w 1006844"/>
                <a:gd name="csY638" fmla="*/ 544634 h 884702"/>
                <a:gd name="csX639" fmla="*/ 217334 w 1006844"/>
                <a:gd name="csY639" fmla="*/ 531843 h 884702"/>
                <a:gd name="csX640" fmla="*/ 217334 w 1006844"/>
                <a:gd name="csY640" fmla="*/ 572747 h 884702"/>
                <a:gd name="csX641" fmla="*/ 204543 w 1006844"/>
                <a:gd name="csY641" fmla="*/ 585538 h 884702"/>
                <a:gd name="csX642" fmla="*/ 217334 w 1006844"/>
                <a:gd name="csY642" fmla="*/ 598329 h 884702"/>
                <a:gd name="csX643" fmla="*/ 230125 w 1006844"/>
                <a:gd name="csY643" fmla="*/ 585538 h 884702"/>
                <a:gd name="csX644" fmla="*/ 217334 w 1006844"/>
                <a:gd name="csY644" fmla="*/ 572747 h 884702"/>
                <a:gd name="csX645" fmla="*/ 217334 w 1006844"/>
                <a:gd name="csY645" fmla="*/ 613674 h 884702"/>
                <a:gd name="csX646" fmla="*/ 204543 w 1006844"/>
                <a:gd name="csY646" fmla="*/ 626465 h 884702"/>
                <a:gd name="csX647" fmla="*/ 217334 w 1006844"/>
                <a:gd name="csY647" fmla="*/ 639256 h 884702"/>
                <a:gd name="csX648" fmla="*/ 230125 w 1006844"/>
                <a:gd name="csY648" fmla="*/ 626465 h 884702"/>
                <a:gd name="csX649" fmla="*/ 217334 w 1006844"/>
                <a:gd name="csY649" fmla="*/ 613674 h 884702"/>
                <a:gd name="csX650" fmla="*/ 217334 w 1006844"/>
                <a:gd name="csY650" fmla="*/ 654578 h 884702"/>
                <a:gd name="csX651" fmla="*/ 204543 w 1006844"/>
                <a:gd name="csY651" fmla="*/ 667369 h 884702"/>
                <a:gd name="csX652" fmla="*/ 217334 w 1006844"/>
                <a:gd name="csY652" fmla="*/ 680160 h 884702"/>
                <a:gd name="csX653" fmla="*/ 230125 w 1006844"/>
                <a:gd name="csY653" fmla="*/ 667369 h 884702"/>
                <a:gd name="csX654" fmla="*/ 217334 w 1006844"/>
                <a:gd name="csY654" fmla="*/ 654578 h 884702"/>
                <a:gd name="csX655" fmla="*/ 217334 w 1006844"/>
                <a:gd name="csY655" fmla="*/ 695482 h 884702"/>
                <a:gd name="csX656" fmla="*/ 204543 w 1006844"/>
                <a:gd name="csY656" fmla="*/ 708273 h 884702"/>
                <a:gd name="csX657" fmla="*/ 217334 w 1006844"/>
                <a:gd name="csY657" fmla="*/ 721064 h 884702"/>
                <a:gd name="csX658" fmla="*/ 230125 w 1006844"/>
                <a:gd name="csY658" fmla="*/ 708273 h 884702"/>
                <a:gd name="csX659" fmla="*/ 217334 w 1006844"/>
                <a:gd name="csY659" fmla="*/ 695482 h 884702"/>
                <a:gd name="csX660" fmla="*/ 217334 w 1006844"/>
                <a:gd name="csY660" fmla="*/ 736386 h 884702"/>
                <a:gd name="csX661" fmla="*/ 204543 w 1006844"/>
                <a:gd name="csY661" fmla="*/ 749177 h 884702"/>
                <a:gd name="csX662" fmla="*/ 217334 w 1006844"/>
                <a:gd name="csY662" fmla="*/ 761968 h 884702"/>
                <a:gd name="csX663" fmla="*/ 230125 w 1006844"/>
                <a:gd name="csY663" fmla="*/ 749177 h 884702"/>
                <a:gd name="csX664" fmla="*/ 217334 w 1006844"/>
                <a:gd name="csY664" fmla="*/ 736386 h 884702"/>
                <a:gd name="csX665" fmla="*/ 217334 w 1006844"/>
                <a:gd name="csY665" fmla="*/ 777313 h 884702"/>
                <a:gd name="csX666" fmla="*/ 204543 w 1006844"/>
                <a:gd name="csY666" fmla="*/ 790104 h 884702"/>
                <a:gd name="csX667" fmla="*/ 217334 w 1006844"/>
                <a:gd name="csY667" fmla="*/ 802895 h 884702"/>
                <a:gd name="csX668" fmla="*/ 230125 w 1006844"/>
                <a:gd name="csY668" fmla="*/ 790104 h 884702"/>
                <a:gd name="csX669" fmla="*/ 217334 w 1006844"/>
                <a:gd name="csY669" fmla="*/ 777313 h 884702"/>
                <a:gd name="csX670" fmla="*/ 217334 w 1006844"/>
                <a:gd name="csY670" fmla="*/ 818217 h 884702"/>
                <a:gd name="csX671" fmla="*/ 204543 w 1006844"/>
                <a:gd name="csY671" fmla="*/ 831008 h 884702"/>
                <a:gd name="csX672" fmla="*/ 217334 w 1006844"/>
                <a:gd name="csY672" fmla="*/ 843799 h 884702"/>
                <a:gd name="csX673" fmla="*/ 230125 w 1006844"/>
                <a:gd name="csY673" fmla="*/ 831008 h 884702"/>
                <a:gd name="csX674" fmla="*/ 217334 w 1006844"/>
                <a:gd name="csY674" fmla="*/ 818217 h 884702"/>
                <a:gd name="csX675" fmla="*/ 217334 w 1006844"/>
                <a:gd name="csY675" fmla="*/ 859121 h 884702"/>
                <a:gd name="csX676" fmla="*/ 204543 w 1006844"/>
                <a:gd name="csY676" fmla="*/ 871912 h 884702"/>
                <a:gd name="csX677" fmla="*/ 217334 w 1006844"/>
                <a:gd name="csY677" fmla="*/ 884703 h 884702"/>
                <a:gd name="csX678" fmla="*/ 230125 w 1006844"/>
                <a:gd name="csY678" fmla="*/ 871912 h 884702"/>
                <a:gd name="csX679" fmla="*/ 217334 w 1006844"/>
                <a:gd name="csY679" fmla="*/ 859121 h 884702"/>
                <a:gd name="csX680" fmla="*/ 176430 w 1006844"/>
                <a:gd name="csY680" fmla="*/ 122735 h 884702"/>
                <a:gd name="csX681" fmla="*/ 163639 w 1006844"/>
                <a:gd name="csY681" fmla="*/ 135526 h 884702"/>
                <a:gd name="csX682" fmla="*/ 176430 w 1006844"/>
                <a:gd name="csY682" fmla="*/ 148317 h 884702"/>
                <a:gd name="csX683" fmla="*/ 189221 w 1006844"/>
                <a:gd name="csY683" fmla="*/ 135526 h 884702"/>
                <a:gd name="csX684" fmla="*/ 176430 w 1006844"/>
                <a:gd name="csY684" fmla="*/ 122735 h 884702"/>
                <a:gd name="csX685" fmla="*/ 176430 w 1006844"/>
                <a:gd name="csY685" fmla="*/ 163639 h 884702"/>
                <a:gd name="csX686" fmla="*/ 163639 w 1006844"/>
                <a:gd name="csY686" fmla="*/ 176430 h 884702"/>
                <a:gd name="csX687" fmla="*/ 176430 w 1006844"/>
                <a:gd name="csY687" fmla="*/ 189221 h 884702"/>
                <a:gd name="csX688" fmla="*/ 189221 w 1006844"/>
                <a:gd name="csY688" fmla="*/ 176430 h 884702"/>
                <a:gd name="csX689" fmla="*/ 176430 w 1006844"/>
                <a:gd name="csY689" fmla="*/ 163639 h 884702"/>
                <a:gd name="csX690" fmla="*/ 176430 w 1006844"/>
                <a:gd name="csY690" fmla="*/ 204543 h 884702"/>
                <a:gd name="csX691" fmla="*/ 163639 w 1006844"/>
                <a:gd name="csY691" fmla="*/ 217334 h 884702"/>
                <a:gd name="csX692" fmla="*/ 176430 w 1006844"/>
                <a:gd name="csY692" fmla="*/ 230125 h 884702"/>
                <a:gd name="csX693" fmla="*/ 189221 w 1006844"/>
                <a:gd name="csY693" fmla="*/ 217334 h 884702"/>
                <a:gd name="csX694" fmla="*/ 176430 w 1006844"/>
                <a:gd name="csY694" fmla="*/ 204543 h 884702"/>
                <a:gd name="csX695" fmla="*/ 176430 w 1006844"/>
                <a:gd name="csY695" fmla="*/ 245470 h 884702"/>
                <a:gd name="csX696" fmla="*/ 163639 w 1006844"/>
                <a:gd name="csY696" fmla="*/ 258261 h 884702"/>
                <a:gd name="csX697" fmla="*/ 176430 w 1006844"/>
                <a:gd name="csY697" fmla="*/ 271052 h 884702"/>
                <a:gd name="csX698" fmla="*/ 189221 w 1006844"/>
                <a:gd name="csY698" fmla="*/ 258261 h 884702"/>
                <a:gd name="csX699" fmla="*/ 176430 w 1006844"/>
                <a:gd name="csY699" fmla="*/ 245470 h 884702"/>
                <a:gd name="csX700" fmla="*/ 176430 w 1006844"/>
                <a:gd name="csY700" fmla="*/ 286374 h 884702"/>
                <a:gd name="csX701" fmla="*/ 163639 w 1006844"/>
                <a:gd name="csY701" fmla="*/ 299165 h 884702"/>
                <a:gd name="csX702" fmla="*/ 176430 w 1006844"/>
                <a:gd name="csY702" fmla="*/ 311956 h 884702"/>
                <a:gd name="csX703" fmla="*/ 189221 w 1006844"/>
                <a:gd name="csY703" fmla="*/ 299165 h 884702"/>
                <a:gd name="csX704" fmla="*/ 176430 w 1006844"/>
                <a:gd name="csY704" fmla="*/ 286374 h 884702"/>
                <a:gd name="csX705" fmla="*/ 176430 w 1006844"/>
                <a:gd name="csY705" fmla="*/ 327277 h 884702"/>
                <a:gd name="csX706" fmla="*/ 163639 w 1006844"/>
                <a:gd name="csY706" fmla="*/ 340069 h 884702"/>
                <a:gd name="csX707" fmla="*/ 176430 w 1006844"/>
                <a:gd name="csY707" fmla="*/ 352860 h 884702"/>
                <a:gd name="csX708" fmla="*/ 189221 w 1006844"/>
                <a:gd name="csY708" fmla="*/ 340069 h 884702"/>
                <a:gd name="csX709" fmla="*/ 176430 w 1006844"/>
                <a:gd name="csY709" fmla="*/ 327277 h 884702"/>
                <a:gd name="csX710" fmla="*/ 176430 w 1006844"/>
                <a:gd name="csY710" fmla="*/ 368204 h 884702"/>
                <a:gd name="csX711" fmla="*/ 163639 w 1006844"/>
                <a:gd name="csY711" fmla="*/ 380995 h 884702"/>
                <a:gd name="csX712" fmla="*/ 176430 w 1006844"/>
                <a:gd name="csY712" fmla="*/ 393786 h 884702"/>
                <a:gd name="csX713" fmla="*/ 189221 w 1006844"/>
                <a:gd name="csY713" fmla="*/ 380995 h 884702"/>
                <a:gd name="csX714" fmla="*/ 176430 w 1006844"/>
                <a:gd name="csY714" fmla="*/ 368204 h 884702"/>
                <a:gd name="csX715" fmla="*/ 176430 w 1006844"/>
                <a:gd name="csY715" fmla="*/ 409108 h 884702"/>
                <a:gd name="csX716" fmla="*/ 163639 w 1006844"/>
                <a:gd name="csY716" fmla="*/ 421899 h 884702"/>
                <a:gd name="csX717" fmla="*/ 176430 w 1006844"/>
                <a:gd name="csY717" fmla="*/ 434690 h 884702"/>
                <a:gd name="csX718" fmla="*/ 189221 w 1006844"/>
                <a:gd name="csY718" fmla="*/ 421899 h 884702"/>
                <a:gd name="csX719" fmla="*/ 176430 w 1006844"/>
                <a:gd name="csY719" fmla="*/ 409108 h 884702"/>
                <a:gd name="csX720" fmla="*/ 176430 w 1006844"/>
                <a:gd name="csY720" fmla="*/ 450012 h 884702"/>
                <a:gd name="csX721" fmla="*/ 163639 w 1006844"/>
                <a:gd name="csY721" fmla="*/ 462803 h 884702"/>
                <a:gd name="csX722" fmla="*/ 176430 w 1006844"/>
                <a:gd name="csY722" fmla="*/ 475594 h 884702"/>
                <a:gd name="csX723" fmla="*/ 189221 w 1006844"/>
                <a:gd name="csY723" fmla="*/ 462803 h 884702"/>
                <a:gd name="csX724" fmla="*/ 176430 w 1006844"/>
                <a:gd name="csY724" fmla="*/ 450012 h 884702"/>
                <a:gd name="csX725" fmla="*/ 176430 w 1006844"/>
                <a:gd name="csY725" fmla="*/ 490939 h 884702"/>
                <a:gd name="csX726" fmla="*/ 163639 w 1006844"/>
                <a:gd name="csY726" fmla="*/ 503730 h 884702"/>
                <a:gd name="csX727" fmla="*/ 176430 w 1006844"/>
                <a:gd name="csY727" fmla="*/ 516521 h 884702"/>
                <a:gd name="csX728" fmla="*/ 189221 w 1006844"/>
                <a:gd name="csY728" fmla="*/ 503730 h 884702"/>
                <a:gd name="csX729" fmla="*/ 176430 w 1006844"/>
                <a:gd name="csY729" fmla="*/ 490939 h 884702"/>
                <a:gd name="csX730" fmla="*/ 176430 w 1006844"/>
                <a:gd name="csY730" fmla="*/ 531843 h 884702"/>
                <a:gd name="csX731" fmla="*/ 163639 w 1006844"/>
                <a:gd name="csY731" fmla="*/ 544634 h 884702"/>
                <a:gd name="csX732" fmla="*/ 176430 w 1006844"/>
                <a:gd name="csY732" fmla="*/ 557425 h 884702"/>
                <a:gd name="csX733" fmla="*/ 189221 w 1006844"/>
                <a:gd name="csY733" fmla="*/ 544634 h 884702"/>
                <a:gd name="csX734" fmla="*/ 176430 w 1006844"/>
                <a:gd name="csY734" fmla="*/ 531843 h 884702"/>
                <a:gd name="csX735" fmla="*/ 176430 w 1006844"/>
                <a:gd name="csY735" fmla="*/ 572747 h 884702"/>
                <a:gd name="csX736" fmla="*/ 163639 w 1006844"/>
                <a:gd name="csY736" fmla="*/ 585538 h 884702"/>
                <a:gd name="csX737" fmla="*/ 176430 w 1006844"/>
                <a:gd name="csY737" fmla="*/ 598329 h 884702"/>
                <a:gd name="csX738" fmla="*/ 189221 w 1006844"/>
                <a:gd name="csY738" fmla="*/ 585538 h 884702"/>
                <a:gd name="csX739" fmla="*/ 176430 w 1006844"/>
                <a:gd name="csY739" fmla="*/ 572747 h 884702"/>
                <a:gd name="csX740" fmla="*/ 176430 w 1006844"/>
                <a:gd name="csY740" fmla="*/ 613674 h 884702"/>
                <a:gd name="csX741" fmla="*/ 163639 w 1006844"/>
                <a:gd name="csY741" fmla="*/ 626465 h 884702"/>
                <a:gd name="csX742" fmla="*/ 176430 w 1006844"/>
                <a:gd name="csY742" fmla="*/ 639256 h 884702"/>
                <a:gd name="csX743" fmla="*/ 189221 w 1006844"/>
                <a:gd name="csY743" fmla="*/ 626465 h 884702"/>
                <a:gd name="csX744" fmla="*/ 176430 w 1006844"/>
                <a:gd name="csY744" fmla="*/ 613674 h 884702"/>
                <a:gd name="csX745" fmla="*/ 176430 w 1006844"/>
                <a:gd name="csY745" fmla="*/ 654578 h 884702"/>
                <a:gd name="csX746" fmla="*/ 163639 w 1006844"/>
                <a:gd name="csY746" fmla="*/ 667369 h 884702"/>
                <a:gd name="csX747" fmla="*/ 176430 w 1006844"/>
                <a:gd name="csY747" fmla="*/ 680160 h 884702"/>
                <a:gd name="csX748" fmla="*/ 189221 w 1006844"/>
                <a:gd name="csY748" fmla="*/ 667369 h 884702"/>
                <a:gd name="csX749" fmla="*/ 176430 w 1006844"/>
                <a:gd name="csY749" fmla="*/ 654578 h 884702"/>
                <a:gd name="csX750" fmla="*/ 176430 w 1006844"/>
                <a:gd name="csY750" fmla="*/ 695482 h 884702"/>
                <a:gd name="csX751" fmla="*/ 163639 w 1006844"/>
                <a:gd name="csY751" fmla="*/ 708273 h 884702"/>
                <a:gd name="csX752" fmla="*/ 176430 w 1006844"/>
                <a:gd name="csY752" fmla="*/ 721064 h 884702"/>
                <a:gd name="csX753" fmla="*/ 189221 w 1006844"/>
                <a:gd name="csY753" fmla="*/ 708273 h 884702"/>
                <a:gd name="csX754" fmla="*/ 176430 w 1006844"/>
                <a:gd name="csY754" fmla="*/ 695482 h 884702"/>
                <a:gd name="csX755" fmla="*/ 176430 w 1006844"/>
                <a:gd name="csY755" fmla="*/ 736386 h 884702"/>
                <a:gd name="csX756" fmla="*/ 163639 w 1006844"/>
                <a:gd name="csY756" fmla="*/ 749177 h 884702"/>
                <a:gd name="csX757" fmla="*/ 176430 w 1006844"/>
                <a:gd name="csY757" fmla="*/ 761968 h 884702"/>
                <a:gd name="csX758" fmla="*/ 189221 w 1006844"/>
                <a:gd name="csY758" fmla="*/ 749177 h 884702"/>
                <a:gd name="csX759" fmla="*/ 176430 w 1006844"/>
                <a:gd name="csY759" fmla="*/ 736386 h 884702"/>
                <a:gd name="csX760" fmla="*/ 176430 w 1006844"/>
                <a:gd name="csY760" fmla="*/ 777313 h 884702"/>
                <a:gd name="csX761" fmla="*/ 163639 w 1006844"/>
                <a:gd name="csY761" fmla="*/ 790104 h 884702"/>
                <a:gd name="csX762" fmla="*/ 176430 w 1006844"/>
                <a:gd name="csY762" fmla="*/ 802895 h 884702"/>
                <a:gd name="csX763" fmla="*/ 189221 w 1006844"/>
                <a:gd name="csY763" fmla="*/ 790104 h 884702"/>
                <a:gd name="csX764" fmla="*/ 176430 w 1006844"/>
                <a:gd name="csY764" fmla="*/ 777313 h 884702"/>
                <a:gd name="csX765" fmla="*/ 176430 w 1006844"/>
                <a:gd name="csY765" fmla="*/ 818217 h 884702"/>
                <a:gd name="csX766" fmla="*/ 163639 w 1006844"/>
                <a:gd name="csY766" fmla="*/ 831008 h 884702"/>
                <a:gd name="csX767" fmla="*/ 176430 w 1006844"/>
                <a:gd name="csY767" fmla="*/ 843799 h 884702"/>
                <a:gd name="csX768" fmla="*/ 189221 w 1006844"/>
                <a:gd name="csY768" fmla="*/ 831008 h 884702"/>
                <a:gd name="csX769" fmla="*/ 176430 w 1006844"/>
                <a:gd name="csY769" fmla="*/ 818217 h 884702"/>
                <a:gd name="csX770" fmla="*/ 176430 w 1006844"/>
                <a:gd name="csY770" fmla="*/ 859121 h 884702"/>
                <a:gd name="csX771" fmla="*/ 163639 w 1006844"/>
                <a:gd name="csY771" fmla="*/ 871912 h 884702"/>
                <a:gd name="csX772" fmla="*/ 176430 w 1006844"/>
                <a:gd name="csY772" fmla="*/ 884703 h 884702"/>
                <a:gd name="csX773" fmla="*/ 189221 w 1006844"/>
                <a:gd name="csY773" fmla="*/ 871912 h 884702"/>
                <a:gd name="csX774" fmla="*/ 176430 w 1006844"/>
                <a:gd name="csY774" fmla="*/ 859121 h 884702"/>
                <a:gd name="csX775" fmla="*/ 135526 w 1006844"/>
                <a:gd name="csY775" fmla="*/ 163639 h 884702"/>
                <a:gd name="csX776" fmla="*/ 122735 w 1006844"/>
                <a:gd name="csY776" fmla="*/ 176430 h 884702"/>
                <a:gd name="csX777" fmla="*/ 135526 w 1006844"/>
                <a:gd name="csY777" fmla="*/ 189221 h 884702"/>
                <a:gd name="csX778" fmla="*/ 148317 w 1006844"/>
                <a:gd name="csY778" fmla="*/ 176430 h 884702"/>
                <a:gd name="csX779" fmla="*/ 135526 w 1006844"/>
                <a:gd name="csY779" fmla="*/ 163639 h 884702"/>
                <a:gd name="csX780" fmla="*/ 135526 w 1006844"/>
                <a:gd name="csY780" fmla="*/ 204543 h 884702"/>
                <a:gd name="csX781" fmla="*/ 122735 w 1006844"/>
                <a:gd name="csY781" fmla="*/ 217334 h 884702"/>
                <a:gd name="csX782" fmla="*/ 135526 w 1006844"/>
                <a:gd name="csY782" fmla="*/ 230125 h 884702"/>
                <a:gd name="csX783" fmla="*/ 148317 w 1006844"/>
                <a:gd name="csY783" fmla="*/ 217334 h 884702"/>
                <a:gd name="csX784" fmla="*/ 135526 w 1006844"/>
                <a:gd name="csY784" fmla="*/ 204543 h 884702"/>
                <a:gd name="csX785" fmla="*/ 135526 w 1006844"/>
                <a:gd name="csY785" fmla="*/ 245470 h 884702"/>
                <a:gd name="csX786" fmla="*/ 122735 w 1006844"/>
                <a:gd name="csY786" fmla="*/ 258261 h 884702"/>
                <a:gd name="csX787" fmla="*/ 135526 w 1006844"/>
                <a:gd name="csY787" fmla="*/ 271052 h 884702"/>
                <a:gd name="csX788" fmla="*/ 148317 w 1006844"/>
                <a:gd name="csY788" fmla="*/ 258261 h 884702"/>
                <a:gd name="csX789" fmla="*/ 135526 w 1006844"/>
                <a:gd name="csY789" fmla="*/ 245470 h 884702"/>
                <a:gd name="csX790" fmla="*/ 135526 w 1006844"/>
                <a:gd name="csY790" fmla="*/ 286374 h 884702"/>
                <a:gd name="csX791" fmla="*/ 122735 w 1006844"/>
                <a:gd name="csY791" fmla="*/ 299165 h 884702"/>
                <a:gd name="csX792" fmla="*/ 135526 w 1006844"/>
                <a:gd name="csY792" fmla="*/ 311956 h 884702"/>
                <a:gd name="csX793" fmla="*/ 148317 w 1006844"/>
                <a:gd name="csY793" fmla="*/ 299165 h 884702"/>
                <a:gd name="csX794" fmla="*/ 135526 w 1006844"/>
                <a:gd name="csY794" fmla="*/ 286374 h 884702"/>
                <a:gd name="csX795" fmla="*/ 135526 w 1006844"/>
                <a:gd name="csY795" fmla="*/ 327277 h 884702"/>
                <a:gd name="csX796" fmla="*/ 122735 w 1006844"/>
                <a:gd name="csY796" fmla="*/ 340069 h 884702"/>
                <a:gd name="csX797" fmla="*/ 135526 w 1006844"/>
                <a:gd name="csY797" fmla="*/ 352860 h 884702"/>
                <a:gd name="csX798" fmla="*/ 148317 w 1006844"/>
                <a:gd name="csY798" fmla="*/ 340069 h 884702"/>
                <a:gd name="csX799" fmla="*/ 135526 w 1006844"/>
                <a:gd name="csY799" fmla="*/ 327277 h 884702"/>
                <a:gd name="csX800" fmla="*/ 135526 w 1006844"/>
                <a:gd name="csY800" fmla="*/ 368204 h 884702"/>
                <a:gd name="csX801" fmla="*/ 122735 w 1006844"/>
                <a:gd name="csY801" fmla="*/ 380995 h 884702"/>
                <a:gd name="csX802" fmla="*/ 135526 w 1006844"/>
                <a:gd name="csY802" fmla="*/ 393786 h 884702"/>
                <a:gd name="csX803" fmla="*/ 148317 w 1006844"/>
                <a:gd name="csY803" fmla="*/ 380995 h 884702"/>
                <a:gd name="csX804" fmla="*/ 135526 w 1006844"/>
                <a:gd name="csY804" fmla="*/ 368204 h 884702"/>
                <a:gd name="csX805" fmla="*/ 135526 w 1006844"/>
                <a:gd name="csY805" fmla="*/ 409108 h 884702"/>
                <a:gd name="csX806" fmla="*/ 122735 w 1006844"/>
                <a:gd name="csY806" fmla="*/ 421899 h 884702"/>
                <a:gd name="csX807" fmla="*/ 135526 w 1006844"/>
                <a:gd name="csY807" fmla="*/ 434690 h 884702"/>
                <a:gd name="csX808" fmla="*/ 148317 w 1006844"/>
                <a:gd name="csY808" fmla="*/ 421899 h 884702"/>
                <a:gd name="csX809" fmla="*/ 135526 w 1006844"/>
                <a:gd name="csY809" fmla="*/ 409108 h 884702"/>
                <a:gd name="csX810" fmla="*/ 135526 w 1006844"/>
                <a:gd name="csY810" fmla="*/ 450012 h 884702"/>
                <a:gd name="csX811" fmla="*/ 122735 w 1006844"/>
                <a:gd name="csY811" fmla="*/ 462803 h 884702"/>
                <a:gd name="csX812" fmla="*/ 135526 w 1006844"/>
                <a:gd name="csY812" fmla="*/ 475594 h 884702"/>
                <a:gd name="csX813" fmla="*/ 148317 w 1006844"/>
                <a:gd name="csY813" fmla="*/ 462803 h 884702"/>
                <a:gd name="csX814" fmla="*/ 135526 w 1006844"/>
                <a:gd name="csY814" fmla="*/ 450012 h 884702"/>
                <a:gd name="csX815" fmla="*/ 135526 w 1006844"/>
                <a:gd name="csY815" fmla="*/ 490939 h 884702"/>
                <a:gd name="csX816" fmla="*/ 122735 w 1006844"/>
                <a:gd name="csY816" fmla="*/ 503730 h 884702"/>
                <a:gd name="csX817" fmla="*/ 135526 w 1006844"/>
                <a:gd name="csY817" fmla="*/ 516521 h 884702"/>
                <a:gd name="csX818" fmla="*/ 148317 w 1006844"/>
                <a:gd name="csY818" fmla="*/ 503730 h 884702"/>
                <a:gd name="csX819" fmla="*/ 135526 w 1006844"/>
                <a:gd name="csY819" fmla="*/ 490939 h 884702"/>
                <a:gd name="csX820" fmla="*/ 135526 w 1006844"/>
                <a:gd name="csY820" fmla="*/ 531843 h 884702"/>
                <a:gd name="csX821" fmla="*/ 122735 w 1006844"/>
                <a:gd name="csY821" fmla="*/ 544634 h 884702"/>
                <a:gd name="csX822" fmla="*/ 135526 w 1006844"/>
                <a:gd name="csY822" fmla="*/ 557425 h 884702"/>
                <a:gd name="csX823" fmla="*/ 148317 w 1006844"/>
                <a:gd name="csY823" fmla="*/ 544634 h 884702"/>
                <a:gd name="csX824" fmla="*/ 135526 w 1006844"/>
                <a:gd name="csY824" fmla="*/ 531843 h 884702"/>
                <a:gd name="csX825" fmla="*/ 135526 w 1006844"/>
                <a:gd name="csY825" fmla="*/ 572747 h 884702"/>
                <a:gd name="csX826" fmla="*/ 122735 w 1006844"/>
                <a:gd name="csY826" fmla="*/ 585538 h 884702"/>
                <a:gd name="csX827" fmla="*/ 135526 w 1006844"/>
                <a:gd name="csY827" fmla="*/ 598329 h 884702"/>
                <a:gd name="csX828" fmla="*/ 148317 w 1006844"/>
                <a:gd name="csY828" fmla="*/ 585538 h 884702"/>
                <a:gd name="csX829" fmla="*/ 135526 w 1006844"/>
                <a:gd name="csY829" fmla="*/ 572747 h 884702"/>
                <a:gd name="csX830" fmla="*/ 135526 w 1006844"/>
                <a:gd name="csY830" fmla="*/ 613674 h 884702"/>
                <a:gd name="csX831" fmla="*/ 122735 w 1006844"/>
                <a:gd name="csY831" fmla="*/ 626465 h 884702"/>
                <a:gd name="csX832" fmla="*/ 135526 w 1006844"/>
                <a:gd name="csY832" fmla="*/ 639256 h 884702"/>
                <a:gd name="csX833" fmla="*/ 148317 w 1006844"/>
                <a:gd name="csY833" fmla="*/ 626465 h 884702"/>
                <a:gd name="csX834" fmla="*/ 135526 w 1006844"/>
                <a:gd name="csY834" fmla="*/ 613674 h 884702"/>
                <a:gd name="csX835" fmla="*/ 135526 w 1006844"/>
                <a:gd name="csY835" fmla="*/ 654578 h 884702"/>
                <a:gd name="csX836" fmla="*/ 122735 w 1006844"/>
                <a:gd name="csY836" fmla="*/ 667369 h 884702"/>
                <a:gd name="csX837" fmla="*/ 135526 w 1006844"/>
                <a:gd name="csY837" fmla="*/ 680160 h 884702"/>
                <a:gd name="csX838" fmla="*/ 148317 w 1006844"/>
                <a:gd name="csY838" fmla="*/ 667369 h 884702"/>
                <a:gd name="csX839" fmla="*/ 135526 w 1006844"/>
                <a:gd name="csY839" fmla="*/ 654578 h 884702"/>
                <a:gd name="csX840" fmla="*/ 135526 w 1006844"/>
                <a:gd name="csY840" fmla="*/ 695482 h 884702"/>
                <a:gd name="csX841" fmla="*/ 122735 w 1006844"/>
                <a:gd name="csY841" fmla="*/ 708273 h 884702"/>
                <a:gd name="csX842" fmla="*/ 135526 w 1006844"/>
                <a:gd name="csY842" fmla="*/ 721064 h 884702"/>
                <a:gd name="csX843" fmla="*/ 148317 w 1006844"/>
                <a:gd name="csY843" fmla="*/ 708273 h 884702"/>
                <a:gd name="csX844" fmla="*/ 135526 w 1006844"/>
                <a:gd name="csY844" fmla="*/ 695482 h 884702"/>
                <a:gd name="csX845" fmla="*/ 135526 w 1006844"/>
                <a:gd name="csY845" fmla="*/ 736386 h 884702"/>
                <a:gd name="csX846" fmla="*/ 122735 w 1006844"/>
                <a:gd name="csY846" fmla="*/ 749177 h 884702"/>
                <a:gd name="csX847" fmla="*/ 135526 w 1006844"/>
                <a:gd name="csY847" fmla="*/ 761968 h 884702"/>
                <a:gd name="csX848" fmla="*/ 148317 w 1006844"/>
                <a:gd name="csY848" fmla="*/ 749177 h 884702"/>
                <a:gd name="csX849" fmla="*/ 135526 w 1006844"/>
                <a:gd name="csY849" fmla="*/ 736386 h 884702"/>
                <a:gd name="csX850" fmla="*/ 135526 w 1006844"/>
                <a:gd name="csY850" fmla="*/ 777313 h 884702"/>
                <a:gd name="csX851" fmla="*/ 122735 w 1006844"/>
                <a:gd name="csY851" fmla="*/ 790104 h 884702"/>
                <a:gd name="csX852" fmla="*/ 135526 w 1006844"/>
                <a:gd name="csY852" fmla="*/ 802895 h 884702"/>
                <a:gd name="csX853" fmla="*/ 148317 w 1006844"/>
                <a:gd name="csY853" fmla="*/ 790104 h 884702"/>
                <a:gd name="csX854" fmla="*/ 135526 w 1006844"/>
                <a:gd name="csY854" fmla="*/ 777313 h 884702"/>
                <a:gd name="csX855" fmla="*/ 135526 w 1006844"/>
                <a:gd name="csY855" fmla="*/ 818217 h 884702"/>
                <a:gd name="csX856" fmla="*/ 122735 w 1006844"/>
                <a:gd name="csY856" fmla="*/ 831008 h 884702"/>
                <a:gd name="csX857" fmla="*/ 135526 w 1006844"/>
                <a:gd name="csY857" fmla="*/ 843799 h 884702"/>
                <a:gd name="csX858" fmla="*/ 148317 w 1006844"/>
                <a:gd name="csY858" fmla="*/ 831008 h 884702"/>
                <a:gd name="csX859" fmla="*/ 135526 w 1006844"/>
                <a:gd name="csY859" fmla="*/ 818217 h 884702"/>
                <a:gd name="csX860" fmla="*/ 135526 w 1006844"/>
                <a:gd name="csY860" fmla="*/ 859121 h 884702"/>
                <a:gd name="csX861" fmla="*/ 122735 w 1006844"/>
                <a:gd name="csY861" fmla="*/ 871912 h 884702"/>
                <a:gd name="csX862" fmla="*/ 135526 w 1006844"/>
                <a:gd name="csY862" fmla="*/ 884703 h 884702"/>
                <a:gd name="csX863" fmla="*/ 148317 w 1006844"/>
                <a:gd name="csY863" fmla="*/ 871912 h 884702"/>
                <a:gd name="csX864" fmla="*/ 135526 w 1006844"/>
                <a:gd name="csY864" fmla="*/ 859121 h 884702"/>
                <a:gd name="csX865" fmla="*/ 94599 w 1006844"/>
                <a:gd name="csY865" fmla="*/ 204543 h 884702"/>
                <a:gd name="csX866" fmla="*/ 81808 w 1006844"/>
                <a:gd name="csY866" fmla="*/ 217334 h 884702"/>
                <a:gd name="csX867" fmla="*/ 94599 w 1006844"/>
                <a:gd name="csY867" fmla="*/ 230125 h 884702"/>
                <a:gd name="csX868" fmla="*/ 107390 w 1006844"/>
                <a:gd name="csY868" fmla="*/ 217334 h 884702"/>
                <a:gd name="csX869" fmla="*/ 94599 w 1006844"/>
                <a:gd name="csY869" fmla="*/ 204543 h 884702"/>
                <a:gd name="csX870" fmla="*/ 94599 w 1006844"/>
                <a:gd name="csY870" fmla="*/ 245470 h 884702"/>
                <a:gd name="csX871" fmla="*/ 81808 w 1006844"/>
                <a:gd name="csY871" fmla="*/ 258261 h 884702"/>
                <a:gd name="csX872" fmla="*/ 94599 w 1006844"/>
                <a:gd name="csY872" fmla="*/ 271052 h 884702"/>
                <a:gd name="csX873" fmla="*/ 107390 w 1006844"/>
                <a:gd name="csY873" fmla="*/ 258261 h 884702"/>
                <a:gd name="csX874" fmla="*/ 94599 w 1006844"/>
                <a:gd name="csY874" fmla="*/ 245470 h 884702"/>
                <a:gd name="csX875" fmla="*/ 94599 w 1006844"/>
                <a:gd name="csY875" fmla="*/ 286374 h 884702"/>
                <a:gd name="csX876" fmla="*/ 81808 w 1006844"/>
                <a:gd name="csY876" fmla="*/ 299165 h 884702"/>
                <a:gd name="csX877" fmla="*/ 94599 w 1006844"/>
                <a:gd name="csY877" fmla="*/ 311956 h 884702"/>
                <a:gd name="csX878" fmla="*/ 107390 w 1006844"/>
                <a:gd name="csY878" fmla="*/ 299165 h 884702"/>
                <a:gd name="csX879" fmla="*/ 94599 w 1006844"/>
                <a:gd name="csY879" fmla="*/ 286374 h 884702"/>
                <a:gd name="csX880" fmla="*/ 94599 w 1006844"/>
                <a:gd name="csY880" fmla="*/ 327277 h 884702"/>
                <a:gd name="csX881" fmla="*/ 81808 w 1006844"/>
                <a:gd name="csY881" fmla="*/ 340069 h 884702"/>
                <a:gd name="csX882" fmla="*/ 94599 w 1006844"/>
                <a:gd name="csY882" fmla="*/ 352860 h 884702"/>
                <a:gd name="csX883" fmla="*/ 107390 w 1006844"/>
                <a:gd name="csY883" fmla="*/ 340069 h 884702"/>
                <a:gd name="csX884" fmla="*/ 94599 w 1006844"/>
                <a:gd name="csY884" fmla="*/ 327277 h 884702"/>
                <a:gd name="csX885" fmla="*/ 94599 w 1006844"/>
                <a:gd name="csY885" fmla="*/ 368204 h 884702"/>
                <a:gd name="csX886" fmla="*/ 81808 w 1006844"/>
                <a:gd name="csY886" fmla="*/ 380995 h 884702"/>
                <a:gd name="csX887" fmla="*/ 94599 w 1006844"/>
                <a:gd name="csY887" fmla="*/ 393786 h 884702"/>
                <a:gd name="csX888" fmla="*/ 107390 w 1006844"/>
                <a:gd name="csY888" fmla="*/ 380995 h 884702"/>
                <a:gd name="csX889" fmla="*/ 94599 w 1006844"/>
                <a:gd name="csY889" fmla="*/ 368204 h 884702"/>
                <a:gd name="csX890" fmla="*/ 94599 w 1006844"/>
                <a:gd name="csY890" fmla="*/ 409108 h 884702"/>
                <a:gd name="csX891" fmla="*/ 81808 w 1006844"/>
                <a:gd name="csY891" fmla="*/ 421899 h 884702"/>
                <a:gd name="csX892" fmla="*/ 94599 w 1006844"/>
                <a:gd name="csY892" fmla="*/ 434690 h 884702"/>
                <a:gd name="csX893" fmla="*/ 107390 w 1006844"/>
                <a:gd name="csY893" fmla="*/ 421899 h 884702"/>
                <a:gd name="csX894" fmla="*/ 94599 w 1006844"/>
                <a:gd name="csY894" fmla="*/ 409108 h 884702"/>
                <a:gd name="csX895" fmla="*/ 94599 w 1006844"/>
                <a:gd name="csY895" fmla="*/ 450012 h 884702"/>
                <a:gd name="csX896" fmla="*/ 81808 w 1006844"/>
                <a:gd name="csY896" fmla="*/ 462803 h 884702"/>
                <a:gd name="csX897" fmla="*/ 94599 w 1006844"/>
                <a:gd name="csY897" fmla="*/ 475594 h 884702"/>
                <a:gd name="csX898" fmla="*/ 107390 w 1006844"/>
                <a:gd name="csY898" fmla="*/ 462803 h 884702"/>
                <a:gd name="csX899" fmla="*/ 94599 w 1006844"/>
                <a:gd name="csY899" fmla="*/ 450012 h 884702"/>
                <a:gd name="csX900" fmla="*/ 94599 w 1006844"/>
                <a:gd name="csY900" fmla="*/ 490939 h 884702"/>
                <a:gd name="csX901" fmla="*/ 81808 w 1006844"/>
                <a:gd name="csY901" fmla="*/ 503730 h 884702"/>
                <a:gd name="csX902" fmla="*/ 94599 w 1006844"/>
                <a:gd name="csY902" fmla="*/ 516521 h 884702"/>
                <a:gd name="csX903" fmla="*/ 107390 w 1006844"/>
                <a:gd name="csY903" fmla="*/ 503730 h 884702"/>
                <a:gd name="csX904" fmla="*/ 94599 w 1006844"/>
                <a:gd name="csY904" fmla="*/ 490939 h 884702"/>
                <a:gd name="csX905" fmla="*/ 94599 w 1006844"/>
                <a:gd name="csY905" fmla="*/ 531843 h 884702"/>
                <a:gd name="csX906" fmla="*/ 81808 w 1006844"/>
                <a:gd name="csY906" fmla="*/ 544634 h 884702"/>
                <a:gd name="csX907" fmla="*/ 94599 w 1006844"/>
                <a:gd name="csY907" fmla="*/ 557425 h 884702"/>
                <a:gd name="csX908" fmla="*/ 107390 w 1006844"/>
                <a:gd name="csY908" fmla="*/ 544634 h 884702"/>
                <a:gd name="csX909" fmla="*/ 94599 w 1006844"/>
                <a:gd name="csY909" fmla="*/ 531843 h 884702"/>
                <a:gd name="csX910" fmla="*/ 94599 w 1006844"/>
                <a:gd name="csY910" fmla="*/ 572747 h 884702"/>
                <a:gd name="csX911" fmla="*/ 81808 w 1006844"/>
                <a:gd name="csY911" fmla="*/ 585538 h 884702"/>
                <a:gd name="csX912" fmla="*/ 94599 w 1006844"/>
                <a:gd name="csY912" fmla="*/ 598329 h 884702"/>
                <a:gd name="csX913" fmla="*/ 107390 w 1006844"/>
                <a:gd name="csY913" fmla="*/ 585538 h 884702"/>
                <a:gd name="csX914" fmla="*/ 94599 w 1006844"/>
                <a:gd name="csY914" fmla="*/ 572747 h 884702"/>
                <a:gd name="csX915" fmla="*/ 94599 w 1006844"/>
                <a:gd name="csY915" fmla="*/ 613674 h 884702"/>
                <a:gd name="csX916" fmla="*/ 81808 w 1006844"/>
                <a:gd name="csY916" fmla="*/ 626465 h 884702"/>
                <a:gd name="csX917" fmla="*/ 94599 w 1006844"/>
                <a:gd name="csY917" fmla="*/ 639256 h 884702"/>
                <a:gd name="csX918" fmla="*/ 107390 w 1006844"/>
                <a:gd name="csY918" fmla="*/ 626465 h 884702"/>
                <a:gd name="csX919" fmla="*/ 94599 w 1006844"/>
                <a:gd name="csY919" fmla="*/ 613674 h 884702"/>
                <a:gd name="csX920" fmla="*/ 94599 w 1006844"/>
                <a:gd name="csY920" fmla="*/ 654578 h 884702"/>
                <a:gd name="csX921" fmla="*/ 81808 w 1006844"/>
                <a:gd name="csY921" fmla="*/ 667369 h 884702"/>
                <a:gd name="csX922" fmla="*/ 94599 w 1006844"/>
                <a:gd name="csY922" fmla="*/ 680160 h 884702"/>
                <a:gd name="csX923" fmla="*/ 107390 w 1006844"/>
                <a:gd name="csY923" fmla="*/ 667369 h 884702"/>
                <a:gd name="csX924" fmla="*/ 94599 w 1006844"/>
                <a:gd name="csY924" fmla="*/ 654578 h 884702"/>
                <a:gd name="csX925" fmla="*/ 94599 w 1006844"/>
                <a:gd name="csY925" fmla="*/ 695482 h 884702"/>
                <a:gd name="csX926" fmla="*/ 81808 w 1006844"/>
                <a:gd name="csY926" fmla="*/ 708273 h 884702"/>
                <a:gd name="csX927" fmla="*/ 94599 w 1006844"/>
                <a:gd name="csY927" fmla="*/ 721064 h 884702"/>
                <a:gd name="csX928" fmla="*/ 107390 w 1006844"/>
                <a:gd name="csY928" fmla="*/ 708273 h 884702"/>
                <a:gd name="csX929" fmla="*/ 94599 w 1006844"/>
                <a:gd name="csY929" fmla="*/ 695482 h 884702"/>
                <a:gd name="csX930" fmla="*/ 94599 w 1006844"/>
                <a:gd name="csY930" fmla="*/ 736386 h 884702"/>
                <a:gd name="csX931" fmla="*/ 81808 w 1006844"/>
                <a:gd name="csY931" fmla="*/ 749177 h 884702"/>
                <a:gd name="csX932" fmla="*/ 94599 w 1006844"/>
                <a:gd name="csY932" fmla="*/ 761968 h 884702"/>
                <a:gd name="csX933" fmla="*/ 107390 w 1006844"/>
                <a:gd name="csY933" fmla="*/ 749177 h 884702"/>
                <a:gd name="csX934" fmla="*/ 94599 w 1006844"/>
                <a:gd name="csY934" fmla="*/ 736386 h 884702"/>
                <a:gd name="csX935" fmla="*/ 94599 w 1006844"/>
                <a:gd name="csY935" fmla="*/ 777313 h 884702"/>
                <a:gd name="csX936" fmla="*/ 81808 w 1006844"/>
                <a:gd name="csY936" fmla="*/ 790104 h 884702"/>
                <a:gd name="csX937" fmla="*/ 94599 w 1006844"/>
                <a:gd name="csY937" fmla="*/ 802895 h 884702"/>
                <a:gd name="csX938" fmla="*/ 107390 w 1006844"/>
                <a:gd name="csY938" fmla="*/ 790104 h 884702"/>
                <a:gd name="csX939" fmla="*/ 94599 w 1006844"/>
                <a:gd name="csY939" fmla="*/ 777313 h 884702"/>
                <a:gd name="csX940" fmla="*/ 94599 w 1006844"/>
                <a:gd name="csY940" fmla="*/ 818217 h 884702"/>
                <a:gd name="csX941" fmla="*/ 81808 w 1006844"/>
                <a:gd name="csY941" fmla="*/ 831008 h 884702"/>
                <a:gd name="csX942" fmla="*/ 94599 w 1006844"/>
                <a:gd name="csY942" fmla="*/ 843799 h 884702"/>
                <a:gd name="csX943" fmla="*/ 107390 w 1006844"/>
                <a:gd name="csY943" fmla="*/ 831008 h 884702"/>
                <a:gd name="csX944" fmla="*/ 94599 w 1006844"/>
                <a:gd name="csY944" fmla="*/ 818217 h 884702"/>
                <a:gd name="csX945" fmla="*/ 94599 w 1006844"/>
                <a:gd name="csY945" fmla="*/ 859121 h 884702"/>
                <a:gd name="csX946" fmla="*/ 81808 w 1006844"/>
                <a:gd name="csY946" fmla="*/ 871912 h 884702"/>
                <a:gd name="csX947" fmla="*/ 94599 w 1006844"/>
                <a:gd name="csY947" fmla="*/ 884703 h 884702"/>
                <a:gd name="csX948" fmla="*/ 107390 w 1006844"/>
                <a:gd name="csY948" fmla="*/ 871912 h 884702"/>
                <a:gd name="csX949" fmla="*/ 94599 w 1006844"/>
                <a:gd name="csY949" fmla="*/ 859121 h 884702"/>
                <a:gd name="csX950" fmla="*/ 53695 w 1006844"/>
                <a:gd name="csY950" fmla="*/ 245470 h 884702"/>
                <a:gd name="csX951" fmla="*/ 40904 w 1006844"/>
                <a:gd name="csY951" fmla="*/ 258261 h 884702"/>
                <a:gd name="csX952" fmla="*/ 53695 w 1006844"/>
                <a:gd name="csY952" fmla="*/ 271052 h 884702"/>
                <a:gd name="csX953" fmla="*/ 66486 w 1006844"/>
                <a:gd name="csY953" fmla="*/ 258261 h 884702"/>
                <a:gd name="csX954" fmla="*/ 53695 w 1006844"/>
                <a:gd name="csY954" fmla="*/ 245470 h 884702"/>
                <a:gd name="csX955" fmla="*/ 53695 w 1006844"/>
                <a:gd name="csY955" fmla="*/ 286374 h 884702"/>
                <a:gd name="csX956" fmla="*/ 40904 w 1006844"/>
                <a:gd name="csY956" fmla="*/ 299165 h 884702"/>
                <a:gd name="csX957" fmla="*/ 53695 w 1006844"/>
                <a:gd name="csY957" fmla="*/ 311956 h 884702"/>
                <a:gd name="csX958" fmla="*/ 66486 w 1006844"/>
                <a:gd name="csY958" fmla="*/ 299165 h 884702"/>
                <a:gd name="csX959" fmla="*/ 53695 w 1006844"/>
                <a:gd name="csY959" fmla="*/ 286374 h 884702"/>
                <a:gd name="csX960" fmla="*/ 53695 w 1006844"/>
                <a:gd name="csY960" fmla="*/ 327277 h 884702"/>
                <a:gd name="csX961" fmla="*/ 40904 w 1006844"/>
                <a:gd name="csY961" fmla="*/ 340069 h 884702"/>
                <a:gd name="csX962" fmla="*/ 53695 w 1006844"/>
                <a:gd name="csY962" fmla="*/ 352860 h 884702"/>
                <a:gd name="csX963" fmla="*/ 66486 w 1006844"/>
                <a:gd name="csY963" fmla="*/ 340069 h 884702"/>
                <a:gd name="csX964" fmla="*/ 53695 w 1006844"/>
                <a:gd name="csY964" fmla="*/ 327277 h 884702"/>
                <a:gd name="csX965" fmla="*/ 53695 w 1006844"/>
                <a:gd name="csY965" fmla="*/ 368204 h 884702"/>
                <a:gd name="csX966" fmla="*/ 40904 w 1006844"/>
                <a:gd name="csY966" fmla="*/ 380995 h 884702"/>
                <a:gd name="csX967" fmla="*/ 53695 w 1006844"/>
                <a:gd name="csY967" fmla="*/ 393786 h 884702"/>
                <a:gd name="csX968" fmla="*/ 66486 w 1006844"/>
                <a:gd name="csY968" fmla="*/ 380995 h 884702"/>
                <a:gd name="csX969" fmla="*/ 53695 w 1006844"/>
                <a:gd name="csY969" fmla="*/ 368204 h 884702"/>
                <a:gd name="csX970" fmla="*/ 53695 w 1006844"/>
                <a:gd name="csY970" fmla="*/ 409108 h 884702"/>
                <a:gd name="csX971" fmla="*/ 40904 w 1006844"/>
                <a:gd name="csY971" fmla="*/ 421899 h 884702"/>
                <a:gd name="csX972" fmla="*/ 53695 w 1006844"/>
                <a:gd name="csY972" fmla="*/ 434690 h 884702"/>
                <a:gd name="csX973" fmla="*/ 66486 w 1006844"/>
                <a:gd name="csY973" fmla="*/ 421899 h 884702"/>
                <a:gd name="csX974" fmla="*/ 53695 w 1006844"/>
                <a:gd name="csY974" fmla="*/ 409108 h 884702"/>
                <a:gd name="csX975" fmla="*/ 53695 w 1006844"/>
                <a:gd name="csY975" fmla="*/ 450012 h 884702"/>
                <a:gd name="csX976" fmla="*/ 40904 w 1006844"/>
                <a:gd name="csY976" fmla="*/ 462803 h 884702"/>
                <a:gd name="csX977" fmla="*/ 53695 w 1006844"/>
                <a:gd name="csY977" fmla="*/ 475594 h 884702"/>
                <a:gd name="csX978" fmla="*/ 66486 w 1006844"/>
                <a:gd name="csY978" fmla="*/ 462803 h 884702"/>
                <a:gd name="csX979" fmla="*/ 53695 w 1006844"/>
                <a:gd name="csY979" fmla="*/ 450012 h 884702"/>
                <a:gd name="csX980" fmla="*/ 53695 w 1006844"/>
                <a:gd name="csY980" fmla="*/ 490939 h 884702"/>
                <a:gd name="csX981" fmla="*/ 40904 w 1006844"/>
                <a:gd name="csY981" fmla="*/ 503730 h 884702"/>
                <a:gd name="csX982" fmla="*/ 53695 w 1006844"/>
                <a:gd name="csY982" fmla="*/ 516521 h 884702"/>
                <a:gd name="csX983" fmla="*/ 66486 w 1006844"/>
                <a:gd name="csY983" fmla="*/ 503730 h 884702"/>
                <a:gd name="csX984" fmla="*/ 53695 w 1006844"/>
                <a:gd name="csY984" fmla="*/ 490939 h 884702"/>
                <a:gd name="csX985" fmla="*/ 53695 w 1006844"/>
                <a:gd name="csY985" fmla="*/ 531843 h 884702"/>
                <a:gd name="csX986" fmla="*/ 40904 w 1006844"/>
                <a:gd name="csY986" fmla="*/ 544634 h 884702"/>
                <a:gd name="csX987" fmla="*/ 53695 w 1006844"/>
                <a:gd name="csY987" fmla="*/ 557425 h 884702"/>
                <a:gd name="csX988" fmla="*/ 66486 w 1006844"/>
                <a:gd name="csY988" fmla="*/ 544634 h 884702"/>
                <a:gd name="csX989" fmla="*/ 53695 w 1006844"/>
                <a:gd name="csY989" fmla="*/ 531843 h 884702"/>
                <a:gd name="csX990" fmla="*/ 53695 w 1006844"/>
                <a:gd name="csY990" fmla="*/ 572747 h 884702"/>
                <a:gd name="csX991" fmla="*/ 40904 w 1006844"/>
                <a:gd name="csY991" fmla="*/ 585538 h 884702"/>
                <a:gd name="csX992" fmla="*/ 53695 w 1006844"/>
                <a:gd name="csY992" fmla="*/ 598329 h 884702"/>
                <a:gd name="csX993" fmla="*/ 66486 w 1006844"/>
                <a:gd name="csY993" fmla="*/ 585538 h 884702"/>
                <a:gd name="csX994" fmla="*/ 53695 w 1006844"/>
                <a:gd name="csY994" fmla="*/ 572747 h 884702"/>
                <a:gd name="csX995" fmla="*/ 53695 w 1006844"/>
                <a:gd name="csY995" fmla="*/ 613674 h 884702"/>
                <a:gd name="csX996" fmla="*/ 40904 w 1006844"/>
                <a:gd name="csY996" fmla="*/ 626465 h 884702"/>
                <a:gd name="csX997" fmla="*/ 53695 w 1006844"/>
                <a:gd name="csY997" fmla="*/ 639256 h 884702"/>
                <a:gd name="csX998" fmla="*/ 66486 w 1006844"/>
                <a:gd name="csY998" fmla="*/ 626465 h 884702"/>
                <a:gd name="csX999" fmla="*/ 53695 w 1006844"/>
                <a:gd name="csY999" fmla="*/ 613674 h 884702"/>
                <a:gd name="csX1000" fmla="*/ 53695 w 1006844"/>
                <a:gd name="csY1000" fmla="*/ 654578 h 884702"/>
                <a:gd name="csX1001" fmla="*/ 40904 w 1006844"/>
                <a:gd name="csY1001" fmla="*/ 667369 h 884702"/>
                <a:gd name="csX1002" fmla="*/ 53695 w 1006844"/>
                <a:gd name="csY1002" fmla="*/ 680160 h 884702"/>
                <a:gd name="csX1003" fmla="*/ 66486 w 1006844"/>
                <a:gd name="csY1003" fmla="*/ 667369 h 884702"/>
                <a:gd name="csX1004" fmla="*/ 53695 w 1006844"/>
                <a:gd name="csY1004" fmla="*/ 654578 h 884702"/>
                <a:gd name="csX1005" fmla="*/ 53695 w 1006844"/>
                <a:gd name="csY1005" fmla="*/ 695482 h 884702"/>
                <a:gd name="csX1006" fmla="*/ 40904 w 1006844"/>
                <a:gd name="csY1006" fmla="*/ 708273 h 884702"/>
                <a:gd name="csX1007" fmla="*/ 53695 w 1006844"/>
                <a:gd name="csY1007" fmla="*/ 721064 h 884702"/>
                <a:gd name="csX1008" fmla="*/ 66486 w 1006844"/>
                <a:gd name="csY1008" fmla="*/ 708273 h 884702"/>
                <a:gd name="csX1009" fmla="*/ 53695 w 1006844"/>
                <a:gd name="csY1009" fmla="*/ 695482 h 884702"/>
                <a:gd name="csX1010" fmla="*/ 53695 w 1006844"/>
                <a:gd name="csY1010" fmla="*/ 736386 h 884702"/>
                <a:gd name="csX1011" fmla="*/ 40904 w 1006844"/>
                <a:gd name="csY1011" fmla="*/ 749177 h 884702"/>
                <a:gd name="csX1012" fmla="*/ 53695 w 1006844"/>
                <a:gd name="csY1012" fmla="*/ 761968 h 884702"/>
                <a:gd name="csX1013" fmla="*/ 66486 w 1006844"/>
                <a:gd name="csY1013" fmla="*/ 749177 h 884702"/>
                <a:gd name="csX1014" fmla="*/ 53695 w 1006844"/>
                <a:gd name="csY1014" fmla="*/ 736386 h 884702"/>
                <a:gd name="csX1015" fmla="*/ 53695 w 1006844"/>
                <a:gd name="csY1015" fmla="*/ 777313 h 884702"/>
                <a:gd name="csX1016" fmla="*/ 40904 w 1006844"/>
                <a:gd name="csY1016" fmla="*/ 790104 h 884702"/>
                <a:gd name="csX1017" fmla="*/ 53695 w 1006844"/>
                <a:gd name="csY1017" fmla="*/ 802895 h 884702"/>
                <a:gd name="csX1018" fmla="*/ 66486 w 1006844"/>
                <a:gd name="csY1018" fmla="*/ 790104 h 884702"/>
                <a:gd name="csX1019" fmla="*/ 53695 w 1006844"/>
                <a:gd name="csY1019" fmla="*/ 777313 h 884702"/>
                <a:gd name="csX1020" fmla="*/ 53695 w 1006844"/>
                <a:gd name="csY1020" fmla="*/ 818217 h 884702"/>
                <a:gd name="csX1021" fmla="*/ 40904 w 1006844"/>
                <a:gd name="csY1021" fmla="*/ 831008 h 884702"/>
                <a:gd name="csX1022" fmla="*/ 53695 w 1006844"/>
                <a:gd name="csY1022" fmla="*/ 843799 h 884702"/>
                <a:gd name="csX1023" fmla="*/ 66486 w 1006844"/>
                <a:gd name="csY1023" fmla="*/ 831008 h 884702"/>
                <a:gd name="csX1024" fmla="*/ 53695 w 1006844"/>
                <a:gd name="csY1024" fmla="*/ 818217 h 884702"/>
                <a:gd name="csX1025" fmla="*/ 53695 w 1006844"/>
                <a:gd name="csY1025" fmla="*/ 859121 h 884702"/>
                <a:gd name="csX1026" fmla="*/ 40904 w 1006844"/>
                <a:gd name="csY1026" fmla="*/ 871912 h 884702"/>
                <a:gd name="csX1027" fmla="*/ 53695 w 1006844"/>
                <a:gd name="csY1027" fmla="*/ 884703 h 884702"/>
                <a:gd name="csX1028" fmla="*/ 66486 w 1006844"/>
                <a:gd name="csY1028" fmla="*/ 871912 h 884702"/>
                <a:gd name="csX1029" fmla="*/ 53695 w 1006844"/>
                <a:gd name="csY1029" fmla="*/ 859121 h 884702"/>
                <a:gd name="csX1030" fmla="*/ 12791 w 1006844"/>
                <a:gd name="csY1030" fmla="*/ 286374 h 884702"/>
                <a:gd name="csX1031" fmla="*/ 0 w 1006844"/>
                <a:gd name="csY1031" fmla="*/ 299165 h 884702"/>
                <a:gd name="csX1032" fmla="*/ 12791 w 1006844"/>
                <a:gd name="csY1032" fmla="*/ 311956 h 884702"/>
                <a:gd name="csX1033" fmla="*/ 25582 w 1006844"/>
                <a:gd name="csY1033" fmla="*/ 299165 h 884702"/>
                <a:gd name="csX1034" fmla="*/ 12791 w 1006844"/>
                <a:gd name="csY1034" fmla="*/ 286374 h 884702"/>
                <a:gd name="csX1035" fmla="*/ 12791 w 1006844"/>
                <a:gd name="csY1035" fmla="*/ 327277 h 884702"/>
                <a:gd name="csX1036" fmla="*/ 0 w 1006844"/>
                <a:gd name="csY1036" fmla="*/ 340069 h 884702"/>
                <a:gd name="csX1037" fmla="*/ 12791 w 1006844"/>
                <a:gd name="csY1037" fmla="*/ 352860 h 884702"/>
                <a:gd name="csX1038" fmla="*/ 25582 w 1006844"/>
                <a:gd name="csY1038" fmla="*/ 340069 h 884702"/>
                <a:gd name="csX1039" fmla="*/ 12791 w 1006844"/>
                <a:gd name="csY1039" fmla="*/ 327277 h 884702"/>
                <a:gd name="csX1040" fmla="*/ 12791 w 1006844"/>
                <a:gd name="csY1040" fmla="*/ 368204 h 884702"/>
                <a:gd name="csX1041" fmla="*/ 0 w 1006844"/>
                <a:gd name="csY1041" fmla="*/ 380973 h 884702"/>
                <a:gd name="csX1042" fmla="*/ 12791 w 1006844"/>
                <a:gd name="csY1042" fmla="*/ 393764 h 884702"/>
                <a:gd name="csX1043" fmla="*/ 25582 w 1006844"/>
                <a:gd name="csY1043" fmla="*/ 380973 h 884702"/>
                <a:gd name="csX1044" fmla="*/ 12791 w 1006844"/>
                <a:gd name="csY1044" fmla="*/ 368181 h 884702"/>
                <a:gd name="csX1045" fmla="*/ 12791 w 1006844"/>
                <a:gd name="csY1045" fmla="*/ 409108 h 884702"/>
                <a:gd name="csX1046" fmla="*/ 0 w 1006844"/>
                <a:gd name="csY1046" fmla="*/ 421899 h 884702"/>
                <a:gd name="csX1047" fmla="*/ 12791 w 1006844"/>
                <a:gd name="csY1047" fmla="*/ 434690 h 884702"/>
                <a:gd name="csX1048" fmla="*/ 25582 w 1006844"/>
                <a:gd name="csY1048" fmla="*/ 421899 h 884702"/>
                <a:gd name="csX1049" fmla="*/ 12791 w 1006844"/>
                <a:gd name="csY1049" fmla="*/ 409108 h 884702"/>
                <a:gd name="csX1050" fmla="*/ 12791 w 1006844"/>
                <a:gd name="csY1050" fmla="*/ 450012 h 884702"/>
                <a:gd name="csX1051" fmla="*/ 0 w 1006844"/>
                <a:gd name="csY1051" fmla="*/ 462803 h 884702"/>
                <a:gd name="csX1052" fmla="*/ 12791 w 1006844"/>
                <a:gd name="csY1052" fmla="*/ 475594 h 884702"/>
                <a:gd name="csX1053" fmla="*/ 25582 w 1006844"/>
                <a:gd name="csY1053" fmla="*/ 462803 h 884702"/>
                <a:gd name="csX1054" fmla="*/ 12791 w 1006844"/>
                <a:gd name="csY1054" fmla="*/ 450012 h 884702"/>
                <a:gd name="csX1055" fmla="*/ 12791 w 1006844"/>
                <a:gd name="csY1055" fmla="*/ 490939 h 884702"/>
                <a:gd name="csX1056" fmla="*/ 0 w 1006844"/>
                <a:gd name="csY1056" fmla="*/ 503707 h 884702"/>
                <a:gd name="csX1057" fmla="*/ 12791 w 1006844"/>
                <a:gd name="csY1057" fmla="*/ 516498 h 884702"/>
                <a:gd name="csX1058" fmla="*/ 25582 w 1006844"/>
                <a:gd name="csY1058" fmla="*/ 503707 h 884702"/>
                <a:gd name="csX1059" fmla="*/ 12791 w 1006844"/>
                <a:gd name="csY1059" fmla="*/ 490916 h 884702"/>
                <a:gd name="csX1060" fmla="*/ 12791 w 1006844"/>
                <a:gd name="csY1060" fmla="*/ 531843 h 884702"/>
                <a:gd name="csX1061" fmla="*/ 0 w 1006844"/>
                <a:gd name="csY1061" fmla="*/ 544634 h 884702"/>
                <a:gd name="csX1062" fmla="*/ 12791 w 1006844"/>
                <a:gd name="csY1062" fmla="*/ 557425 h 884702"/>
                <a:gd name="csX1063" fmla="*/ 25582 w 1006844"/>
                <a:gd name="csY1063" fmla="*/ 544634 h 884702"/>
                <a:gd name="csX1064" fmla="*/ 12791 w 1006844"/>
                <a:gd name="csY1064" fmla="*/ 531843 h 884702"/>
                <a:gd name="csX1065" fmla="*/ 12791 w 1006844"/>
                <a:gd name="csY1065" fmla="*/ 572747 h 884702"/>
                <a:gd name="csX1066" fmla="*/ 0 w 1006844"/>
                <a:gd name="csY1066" fmla="*/ 585538 h 884702"/>
                <a:gd name="csX1067" fmla="*/ 12791 w 1006844"/>
                <a:gd name="csY1067" fmla="*/ 598329 h 884702"/>
                <a:gd name="csX1068" fmla="*/ 25582 w 1006844"/>
                <a:gd name="csY1068" fmla="*/ 585538 h 884702"/>
                <a:gd name="csX1069" fmla="*/ 12791 w 1006844"/>
                <a:gd name="csY1069" fmla="*/ 572747 h 884702"/>
                <a:gd name="csX1070" fmla="*/ 12791 w 1006844"/>
                <a:gd name="csY1070" fmla="*/ 613674 h 884702"/>
                <a:gd name="csX1071" fmla="*/ 0 w 1006844"/>
                <a:gd name="csY1071" fmla="*/ 626442 h 884702"/>
                <a:gd name="csX1072" fmla="*/ 12791 w 1006844"/>
                <a:gd name="csY1072" fmla="*/ 639233 h 884702"/>
                <a:gd name="csX1073" fmla="*/ 25582 w 1006844"/>
                <a:gd name="csY1073" fmla="*/ 626442 h 884702"/>
                <a:gd name="csX1074" fmla="*/ 12791 w 1006844"/>
                <a:gd name="csY1074" fmla="*/ 613651 h 884702"/>
                <a:gd name="csX1075" fmla="*/ 12791 w 1006844"/>
                <a:gd name="csY1075" fmla="*/ 654578 h 884702"/>
                <a:gd name="csX1076" fmla="*/ 0 w 1006844"/>
                <a:gd name="csY1076" fmla="*/ 667369 h 884702"/>
                <a:gd name="csX1077" fmla="*/ 12791 w 1006844"/>
                <a:gd name="csY1077" fmla="*/ 680160 h 884702"/>
                <a:gd name="csX1078" fmla="*/ 25582 w 1006844"/>
                <a:gd name="csY1078" fmla="*/ 667369 h 884702"/>
                <a:gd name="csX1079" fmla="*/ 12791 w 1006844"/>
                <a:gd name="csY1079" fmla="*/ 654578 h 884702"/>
                <a:gd name="csX1080" fmla="*/ 12791 w 1006844"/>
                <a:gd name="csY1080" fmla="*/ 695482 h 884702"/>
                <a:gd name="csX1081" fmla="*/ 0 w 1006844"/>
                <a:gd name="csY1081" fmla="*/ 708273 h 884702"/>
                <a:gd name="csX1082" fmla="*/ 12791 w 1006844"/>
                <a:gd name="csY1082" fmla="*/ 721064 h 884702"/>
                <a:gd name="csX1083" fmla="*/ 25582 w 1006844"/>
                <a:gd name="csY1083" fmla="*/ 708273 h 884702"/>
                <a:gd name="csX1084" fmla="*/ 12791 w 1006844"/>
                <a:gd name="csY1084" fmla="*/ 695482 h 884702"/>
                <a:gd name="csX1085" fmla="*/ 12791 w 1006844"/>
                <a:gd name="csY1085" fmla="*/ 736386 h 884702"/>
                <a:gd name="csX1086" fmla="*/ 0 w 1006844"/>
                <a:gd name="csY1086" fmla="*/ 749177 h 884702"/>
                <a:gd name="csX1087" fmla="*/ 12791 w 1006844"/>
                <a:gd name="csY1087" fmla="*/ 761968 h 884702"/>
                <a:gd name="csX1088" fmla="*/ 25582 w 1006844"/>
                <a:gd name="csY1088" fmla="*/ 749177 h 884702"/>
                <a:gd name="csX1089" fmla="*/ 12791 w 1006844"/>
                <a:gd name="csY1089" fmla="*/ 736386 h 884702"/>
                <a:gd name="csX1090" fmla="*/ 12791 w 1006844"/>
                <a:gd name="csY1090" fmla="*/ 777313 h 884702"/>
                <a:gd name="csX1091" fmla="*/ 0 w 1006844"/>
                <a:gd name="csY1091" fmla="*/ 790081 h 884702"/>
                <a:gd name="csX1092" fmla="*/ 12791 w 1006844"/>
                <a:gd name="csY1092" fmla="*/ 802872 h 884702"/>
                <a:gd name="csX1093" fmla="*/ 25582 w 1006844"/>
                <a:gd name="csY1093" fmla="*/ 790081 h 884702"/>
                <a:gd name="csX1094" fmla="*/ 12791 w 1006844"/>
                <a:gd name="csY1094" fmla="*/ 777290 h 884702"/>
                <a:gd name="csX1095" fmla="*/ 12791 w 1006844"/>
                <a:gd name="csY1095" fmla="*/ 818217 h 884702"/>
                <a:gd name="csX1096" fmla="*/ 0 w 1006844"/>
                <a:gd name="csY1096" fmla="*/ 831008 h 884702"/>
                <a:gd name="csX1097" fmla="*/ 12791 w 1006844"/>
                <a:gd name="csY1097" fmla="*/ 843799 h 884702"/>
                <a:gd name="csX1098" fmla="*/ 25582 w 1006844"/>
                <a:gd name="csY1098" fmla="*/ 831008 h 884702"/>
                <a:gd name="csX1099" fmla="*/ 12791 w 1006844"/>
                <a:gd name="csY1099" fmla="*/ 818217 h 884702"/>
                <a:gd name="csX1100" fmla="*/ 12791 w 1006844"/>
                <a:gd name="csY1100" fmla="*/ 859121 h 884702"/>
                <a:gd name="csX1101" fmla="*/ 0 w 1006844"/>
                <a:gd name="csY1101" fmla="*/ 871912 h 884702"/>
                <a:gd name="csX1102" fmla="*/ 12791 w 1006844"/>
                <a:gd name="csY1102" fmla="*/ 884703 h 884702"/>
                <a:gd name="csX1103" fmla="*/ 25582 w 1006844"/>
                <a:gd name="csY1103" fmla="*/ 871912 h 884702"/>
                <a:gd name="csX1104" fmla="*/ 12791 w 1006844"/>
                <a:gd name="csY1104" fmla="*/ 859121 h 884702"/>
                <a:gd name="csX1105" fmla="*/ 994053 w 1006844"/>
                <a:gd name="csY1105" fmla="*/ 0 h 884702"/>
                <a:gd name="csX1106" fmla="*/ 981262 w 1006844"/>
                <a:gd name="csY1106" fmla="*/ 12791 h 884702"/>
                <a:gd name="csX1107" fmla="*/ 994053 w 1006844"/>
                <a:gd name="csY1107" fmla="*/ 25582 h 884702"/>
                <a:gd name="csX1108" fmla="*/ 1006844 w 1006844"/>
                <a:gd name="csY1108" fmla="*/ 12791 h 884702"/>
                <a:gd name="csX1109" fmla="*/ 994053 w 1006844"/>
                <a:gd name="csY1109" fmla="*/ 0 h 884702"/>
                <a:gd name="csX1110" fmla="*/ 994053 w 1006844"/>
                <a:gd name="csY1110" fmla="*/ 40904 h 884702"/>
                <a:gd name="csX1111" fmla="*/ 981262 w 1006844"/>
                <a:gd name="csY1111" fmla="*/ 53695 h 884702"/>
                <a:gd name="csX1112" fmla="*/ 994053 w 1006844"/>
                <a:gd name="csY1112" fmla="*/ 66486 h 884702"/>
                <a:gd name="csX1113" fmla="*/ 1006844 w 1006844"/>
                <a:gd name="csY1113" fmla="*/ 53695 h 884702"/>
                <a:gd name="csX1114" fmla="*/ 994053 w 1006844"/>
                <a:gd name="csY1114" fmla="*/ 40904 h 884702"/>
                <a:gd name="csX1115" fmla="*/ 994053 w 1006844"/>
                <a:gd name="csY1115" fmla="*/ 81831 h 884702"/>
                <a:gd name="csX1116" fmla="*/ 981262 w 1006844"/>
                <a:gd name="csY1116" fmla="*/ 94622 h 884702"/>
                <a:gd name="csX1117" fmla="*/ 994053 w 1006844"/>
                <a:gd name="csY1117" fmla="*/ 107413 h 884702"/>
                <a:gd name="csX1118" fmla="*/ 1006844 w 1006844"/>
                <a:gd name="csY1118" fmla="*/ 94622 h 884702"/>
                <a:gd name="csX1119" fmla="*/ 994053 w 1006844"/>
                <a:gd name="csY1119" fmla="*/ 81831 h 884702"/>
                <a:gd name="csX1120" fmla="*/ 994053 w 1006844"/>
                <a:gd name="csY1120" fmla="*/ 122735 h 884702"/>
                <a:gd name="csX1121" fmla="*/ 981262 w 1006844"/>
                <a:gd name="csY1121" fmla="*/ 135526 h 884702"/>
                <a:gd name="csX1122" fmla="*/ 994053 w 1006844"/>
                <a:gd name="csY1122" fmla="*/ 148317 h 884702"/>
                <a:gd name="csX1123" fmla="*/ 1006844 w 1006844"/>
                <a:gd name="csY1123" fmla="*/ 135526 h 884702"/>
                <a:gd name="csX1124" fmla="*/ 994053 w 1006844"/>
                <a:gd name="csY1124" fmla="*/ 122735 h 884702"/>
                <a:gd name="csX1125" fmla="*/ 994053 w 1006844"/>
                <a:gd name="csY1125" fmla="*/ 163639 h 884702"/>
                <a:gd name="csX1126" fmla="*/ 981262 w 1006844"/>
                <a:gd name="csY1126" fmla="*/ 176430 h 884702"/>
                <a:gd name="csX1127" fmla="*/ 994053 w 1006844"/>
                <a:gd name="csY1127" fmla="*/ 189221 h 884702"/>
                <a:gd name="csX1128" fmla="*/ 1006844 w 1006844"/>
                <a:gd name="csY1128" fmla="*/ 176430 h 884702"/>
                <a:gd name="csX1129" fmla="*/ 994053 w 1006844"/>
                <a:gd name="csY1129" fmla="*/ 163639 h 884702"/>
                <a:gd name="csX1130" fmla="*/ 994053 w 1006844"/>
                <a:gd name="csY1130" fmla="*/ 409108 h 884702"/>
                <a:gd name="csX1131" fmla="*/ 981262 w 1006844"/>
                <a:gd name="csY1131" fmla="*/ 421899 h 884702"/>
                <a:gd name="csX1132" fmla="*/ 994053 w 1006844"/>
                <a:gd name="csY1132" fmla="*/ 434690 h 884702"/>
                <a:gd name="csX1133" fmla="*/ 1006844 w 1006844"/>
                <a:gd name="csY1133" fmla="*/ 421899 h 884702"/>
                <a:gd name="csX1134" fmla="*/ 994053 w 1006844"/>
                <a:gd name="csY1134" fmla="*/ 409108 h 884702"/>
                <a:gd name="csX1135" fmla="*/ 994053 w 1006844"/>
                <a:gd name="csY1135" fmla="*/ 450012 h 884702"/>
                <a:gd name="csX1136" fmla="*/ 981262 w 1006844"/>
                <a:gd name="csY1136" fmla="*/ 462803 h 884702"/>
                <a:gd name="csX1137" fmla="*/ 994053 w 1006844"/>
                <a:gd name="csY1137" fmla="*/ 475594 h 884702"/>
                <a:gd name="csX1138" fmla="*/ 1006844 w 1006844"/>
                <a:gd name="csY1138" fmla="*/ 462803 h 884702"/>
                <a:gd name="csX1139" fmla="*/ 994053 w 1006844"/>
                <a:gd name="csY1139" fmla="*/ 450012 h 884702"/>
                <a:gd name="csX1140" fmla="*/ 994053 w 1006844"/>
                <a:gd name="csY1140" fmla="*/ 490939 h 884702"/>
                <a:gd name="csX1141" fmla="*/ 981262 w 1006844"/>
                <a:gd name="csY1141" fmla="*/ 503730 h 884702"/>
                <a:gd name="csX1142" fmla="*/ 994053 w 1006844"/>
                <a:gd name="csY1142" fmla="*/ 516521 h 884702"/>
                <a:gd name="csX1143" fmla="*/ 1006844 w 1006844"/>
                <a:gd name="csY1143" fmla="*/ 503730 h 884702"/>
                <a:gd name="csX1144" fmla="*/ 994053 w 1006844"/>
                <a:gd name="csY1144" fmla="*/ 490939 h 884702"/>
                <a:gd name="csX1145" fmla="*/ 994053 w 1006844"/>
                <a:gd name="csY1145" fmla="*/ 531843 h 884702"/>
                <a:gd name="csX1146" fmla="*/ 981262 w 1006844"/>
                <a:gd name="csY1146" fmla="*/ 544634 h 884702"/>
                <a:gd name="csX1147" fmla="*/ 994053 w 1006844"/>
                <a:gd name="csY1147" fmla="*/ 557425 h 884702"/>
                <a:gd name="csX1148" fmla="*/ 1006844 w 1006844"/>
                <a:gd name="csY1148" fmla="*/ 544634 h 884702"/>
                <a:gd name="csX1149" fmla="*/ 994053 w 1006844"/>
                <a:gd name="csY1149" fmla="*/ 531843 h 884702"/>
                <a:gd name="csX1150" fmla="*/ 994053 w 1006844"/>
                <a:gd name="csY1150" fmla="*/ 572747 h 884702"/>
                <a:gd name="csX1151" fmla="*/ 981262 w 1006844"/>
                <a:gd name="csY1151" fmla="*/ 585538 h 884702"/>
                <a:gd name="csX1152" fmla="*/ 994053 w 1006844"/>
                <a:gd name="csY1152" fmla="*/ 598329 h 884702"/>
                <a:gd name="csX1153" fmla="*/ 1006844 w 1006844"/>
                <a:gd name="csY1153" fmla="*/ 585538 h 884702"/>
                <a:gd name="csX1154" fmla="*/ 994053 w 1006844"/>
                <a:gd name="csY1154" fmla="*/ 572747 h 884702"/>
                <a:gd name="csX1155" fmla="*/ 994053 w 1006844"/>
                <a:gd name="csY1155" fmla="*/ 613674 h 884702"/>
                <a:gd name="csX1156" fmla="*/ 981262 w 1006844"/>
                <a:gd name="csY1156" fmla="*/ 626465 h 884702"/>
                <a:gd name="csX1157" fmla="*/ 994053 w 1006844"/>
                <a:gd name="csY1157" fmla="*/ 639256 h 884702"/>
                <a:gd name="csX1158" fmla="*/ 1006844 w 1006844"/>
                <a:gd name="csY1158" fmla="*/ 626465 h 884702"/>
                <a:gd name="csX1159" fmla="*/ 994053 w 1006844"/>
                <a:gd name="csY1159" fmla="*/ 613674 h 884702"/>
                <a:gd name="csX1160" fmla="*/ 994053 w 1006844"/>
                <a:gd name="csY1160" fmla="*/ 654578 h 884702"/>
                <a:gd name="csX1161" fmla="*/ 981262 w 1006844"/>
                <a:gd name="csY1161" fmla="*/ 667369 h 884702"/>
                <a:gd name="csX1162" fmla="*/ 994053 w 1006844"/>
                <a:gd name="csY1162" fmla="*/ 680160 h 884702"/>
                <a:gd name="csX1163" fmla="*/ 1006844 w 1006844"/>
                <a:gd name="csY1163" fmla="*/ 667369 h 884702"/>
                <a:gd name="csX1164" fmla="*/ 994053 w 1006844"/>
                <a:gd name="csY1164" fmla="*/ 654578 h 884702"/>
                <a:gd name="csX1165" fmla="*/ 994053 w 1006844"/>
                <a:gd name="csY1165" fmla="*/ 695482 h 884702"/>
                <a:gd name="csX1166" fmla="*/ 981262 w 1006844"/>
                <a:gd name="csY1166" fmla="*/ 708273 h 884702"/>
                <a:gd name="csX1167" fmla="*/ 994053 w 1006844"/>
                <a:gd name="csY1167" fmla="*/ 721064 h 884702"/>
                <a:gd name="csX1168" fmla="*/ 1006844 w 1006844"/>
                <a:gd name="csY1168" fmla="*/ 708273 h 884702"/>
                <a:gd name="csX1169" fmla="*/ 994053 w 1006844"/>
                <a:gd name="csY1169" fmla="*/ 695482 h 884702"/>
                <a:gd name="csX1170" fmla="*/ 994053 w 1006844"/>
                <a:gd name="csY1170" fmla="*/ 736386 h 884702"/>
                <a:gd name="csX1171" fmla="*/ 981262 w 1006844"/>
                <a:gd name="csY1171" fmla="*/ 749177 h 884702"/>
                <a:gd name="csX1172" fmla="*/ 994053 w 1006844"/>
                <a:gd name="csY1172" fmla="*/ 761968 h 884702"/>
                <a:gd name="csX1173" fmla="*/ 1006844 w 1006844"/>
                <a:gd name="csY1173" fmla="*/ 749177 h 884702"/>
                <a:gd name="csX1174" fmla="*/ 994053 w 1006844"/>
                <a:gd name="csY1174" fmla="*/ 736386 h 884702"/>
                <a:gd name="csX1175" fmla="*/ 994053 w 1006844"/>
                <a:gd name="csY1175" fmla="*/ 777313 h 884702"/>
                <a:gd name="csX1176" fmla="*/ 981262 w 1006844"/>
                <a:gd name="csY1176" fmla="*/ 790104 h 884702"/>
                <a:gd name="csX1177" fmla="*/ 994053 w 1006844"/>
                <a:gd name="csY1177" fmla="*/ 802895 h 884702"/>
                <a:gd name="csX1178" fmla="*/ 1006844 w 1006844"/>
                <a:gd name="csY1178" fmla="*/ 790104 h 884702"/>
                <a:gd name="csX1179" fmla="*/ 994053 w 1006844"/>
                <a:gd name="csY1179" fmla="*/ 777313 h 884702"/>
                <a:gd name="csX1180" fmla="*/ 994053 w 1006844"/>
                <a:gd name="csY1180" fmla="*/ 818217 h 884702"/>
                <a:gd name="csX1181" fmla="*/ 981262 w 1006844"/>
                <a:gd name="csY1181" fmla="*/ 831008 h 884702"/>
                <a:gd name="csX1182" fmla="*/ 994053 w 1006844"/>
                <a:gd name="csY1182" fmla="*/ 843799 h 884702"/>
                <a:gd name="csX1183" fmla="*/ 1006844 w 1006844"/>
                <a:gd name="csY1183" fmla="*/ 831008 h 884702"/>
                <a:gd name="csX1184" fmla="*/ 994053 w 1006844"/>
                <a:gd name="csY1184" fmla="*/ 818217 h 884702"/>
                <a:gd name="csX1185" fmla="*/ 994053 w 1006844"/>
                <a:gd name="csY1185" fmla="*/ 859121 h 884702"/>
                <a:gd name="csX1186" fmla="*/ 981262 w 1006844"/>
                <a:gd name="csY1186" fmla="*/ 871912 h 884702"/>
                <a:gd name="csX1187" fmla="*/ 994053 w 1006844"/>
                <a:gd name="csY1187" fmla="*/ 884703 h 884702"/>
                <a:gd name="csX1188" fmla="*/ 1006844 w 1006844"/>
                <a:gd name="csY1188" fmla="*/ 871912 h 884702"/>
                <a:gd name="csX1189" fmla="*/ 994053 w 1006844"/>
                <a:gd name="csY1189" fmla="*/ 859121 h 884702"/>
                <a:gd name="csX1190" fmla="*/ 953149 w 1006844"/>
                <a:gd name="csY1190" fmla="*/ 0 h 884702"/>
                <a:gd name="csX1191" fmla="*/ 940358 w 1006844"/>
                <a:gd name="csY1191" fmla="*/ 12791 h 884702"/>
                <a:gd name="csX1192" fmla="*/ 953149 w 1006844"/>
                <a:gd name="csY1192" fmla="*/ 25582 h 884702"/>
                <a:gd name="csX1193" fmla="*/ 965940 w 1006844"/>
                <a:gd name="csY1193" fmla="*/ 12791 h 884702"/>
                <a:gd name="csX1194" fmla="*/ 953149 w 1006844"/>
                <a:gd name="csY1194" fmla="*/ 0 h 884702"/>
                <a:gd name="csX1195" fmla="*/ 953149 w 1006844"/>
                <a:gd name="csY1195" fmla="*/ 40904 h 884702"/>
                <a:gd name="csX1196" fmla="*/ 940358 w 1006844"/>
                <a:gd name="csY1196" fmla="*/ 53695 h 884702"/>
                <a:gd name="csX1197" fmla="*/ 953149 w 1006844"/>
                <a:gd name="csY1197" fmla="*/ 66486 h 884702"/>
                <a:gd name="csX1198" fmla="*/ 965940 w 1006844"/>
                <a:gd name="csY1198" fmla="*/ 53695 h 884702"/>
                <a:gd name="csX1199" fmla="*/ 953149 w 1006844"/>
                <a:gd name="csY1199" fmla="*/ 40904 h 884702"/>
                <a:gd name="csX1200" fmla="*/ 953149 w 1006844"/>
                <a:gd name="csY1200" fmla="*/ 81831 h 884702"/>
                <a:gd name="csX1201" fmla="*/ 940358 w 1006844"/>
                <a:gd name="csY1201" fmla="*/ 94622 h 884702"/>
                <a:gd name="csX1202" fmla="*/ 953149 w 1006844"/>
                <a:gd name="csY1202" fmla="*/ 107413 h 884702"/>
                <a:gd name="csX1203" fmla="*/ 965940 w 1006844"/>
                <a:gd name="csY1203" fmla="*/ 94622 h 884702"/>
                <a:gd name="csX1204" fmla="*/ 953149 w 1006844"/>
                <a:gd name="csY1204" fmla="*/ 81831 h 884702"/>
                <a:gd name="csX1205" fmla="*/ 953149 w 1006844"/>
                <a:gd name="csY1205" fmla="*/ 122735 h 884702"/>
                <a:gd name="csX1206" fmla="*/ 940358 w 1006844"/>
                <a:gd name="csY1206" fmla="*/ 135526 h 884702"/>
                <a:gd name="csX1207" fmla="*/ 953149 w 1006844"/>
                <a:gd name="csY1207" fmla="*/ 148317 h 884702"/>
                <a:gd name="csX1208" fmla="*/ 965940 w 1006844"/>
                <a:gd name="csY1208" fmla="*/ 135526 h 884702"/>
                <a:gd name="csX1209" fmla="*/ 953149 w 1006844"/>
                <a:gd name="csY1209" fmla="*/ 122735 h 884702"/>
                <a:gd name="csX1210" fmla="*/ 953149 w 1006844"/>
                <a:gd name="csY1210" fmla="*/ 163639 h 884702"/>
                <a:gd name="csX1211" fmla="*/ 940358 w 1006844"/>
                <a:gd name="csY1211" fmla="*/ 176430 h 884702"/>
                <a:gd name="csX1212" fmla="*/ 953149 w 1006844"/>
                <a:gd name="csY1212" fmla="*/ 189221 h 884702"/>
                <a:gd name="csX1213" fmla="*/ 965940 w 1006844"/>
                <a:gd name="csY1213" fmla="*/ 176430 h 884702"/>
                <a:gd name="csX1214" fmla="*/ 953149 w 1006844"/>
                <a:gd name="csY1214" fmla="*/ 163639 h 884702"/>
                <a:gd name="csX1215" fmla="*/ 953149 w 1006844"/>
                <a:gd name="csY1215" fmla="*/ 204543 h 884702"/>
                <a:gd name="csX1216" fmla="*/ 940358 w 1006844"/>
                <a:gd name="csY1216" fmla="*/ 217334 h 884702"/>
                <a:gd name="csX1217" fmla="*/ 953149 w 1006844"/>
                <a:gd name="csY1217" fmla="*/ 230125 h 884702"/>
                <a:gd name="csX1218" fmla="*/ 965940 w 1006844"/>
                <a:gd name="csY1218" fmla="*/ 217334 h 884702"/>
                <a:gd name="csX1219" fmla="*/ 953149 w 1006844"/>
                <a:gd name="csY1219" fmla="*/ 204543 h 884702"/>
                <a:gd name="csX1220" fmla="*/ 953149 w 1006844"/>
                <a:gd name="csY1220" fmla="*/ 409108 h 884702"/>
                <a:gd name="csX1221" fmla="*/ 940358 w 1006844"/>
                <a:gd name="csY1221" fmla="*/ 421899 h 884702"/>
                <a:gd name="csX1222" fmla="*/ 953149 w 1006844"/>
                <a:gd name="csY1222" fmla="*/ 434690 h 884702"/>
                <a:gd name="csX1223" fmla="*/ 965940 w 1006844"/>
                <a:gd name="csY1223" fmla="*/ 421899 h 884702"/>
                <a:gd name="csX1224" fmla="*/ 953149 w 1006844"/>
                <a:gd name="csY1224" fmla="*/ 409108 h 884702"/>
                <a:gd name="csX1225" fmla="*/ 953149 w 1006844"/>
                <a:gd name="csY1225" fmla="*/ 450012 h 884702"/>
                <a:gd name="csX1226" fmla="*/ 940358 w 1006844"/>
                <a:gd name="csY1226" fmla="*/ 462803 h 884702"/>
                <a:gd name="csX1227" fmla="*/ 953149 w 1006844"/>
                <a:gd name="csY1227" fmla="*/ 475594 h 884702"/>
                <a:gd name="csX1228" fmla="*/ 965940 w 1006844"/>
                <a:gd name="csY1228" fmla="*/ 462803 h 884702"/>
                <a:gd name="csX1229" fmla="*/ 953149 w 1006844"/>
                <a:gd name="csY1229" fmla="*/ 450012 h 884702"/>
                <a:gd name="csX1230" fmla="*/ 953149 w 1006844"/>
                <a:gd name="csY1230" fmla="*/ 490939 h 884702"/>
                <a:gd name="csX1231" fmla="*/ 940358 w 1006844"/>
                <a:gd name="csY1231" fmla="*/ 503730 h 884702"/>
                <a:gd name="csX1232" fmla="*/ 953149 w 1006844"/>
                <a:gd name="csY1232" fmla="*/ 516521 h 884702"/>
                <a:gd name="csX1233" fmla="*/ 965940 w 1006844"/>
                <a:gd name="csY1233" fmla="*/ 503730 h 884702"/>
                <a:gd name="csX1234" fmla="*/ 953149 w 1006844"/>
                <a:gd name="csY1234" fmla="*/ 490939 h 884702"/>
                <a:gd name="csX1235" fmla="*/ 953149 w 1006844"/>
                <a:gd name="csY1235" fmla="*/ 531843 h 884702"/>
                <a:gd name="csX1236" fmla="*/ 940358 w 1006844"/>
                <a:gd name="csY1236" fmla="*/ 544634 h 884702"/>
                <a:gd name="csX1237" fmla="*/ 953149 w 1006844"/>
                <a:gd name="csY1237" fmla="*/ 557425 h 884702"/>
                <a:gd name="csX1238" fmla="*/ 965940 w 1006844"/>
                <a:gd name="csY1238" fmla="*/ 544634 h 884702"/>
                <a:gd name="csX1239" fmla="*/ 953149 w 1006844"/>
                <a:gd name="csY1239" fmla="*/ 531843 h 884702"/>
                <a:gd name="csX1240" fmla="*/ 953149 w 1006844"/>
                <a:gd name="csY1240" fmla="*/ 572747 h 884702"/>
                <a:gd name="csX1241" fmla="*/ 940358 w 1006844"/>
                <a:gd name="csY1241" fmla="*/ 585538 h 884702"/>
                <a:gd name="csX1242" fmla="*/ 953149 w 1006844"/>
                <a:gd name="csY1242" fmla="*/ 598329 h 884702"/>
                <a:gd name="csX1243" fmla="*/ 965940 w 1006844"/>
                <a:gd name="csY1243" fmla="*/ 585538 h 884702"/>
                <a:gd name="csX1244" fmla="*/ 953149 w 1006844"/>
                <a:gd name="csY1244" fmla="*/ 572747 h 884702"/>
                <a:gd name="csX1245" fmla="*/ 953149 w 1006844"/>
                <a:gd name="csY1245" fmla="*/ 613674 h 884702"/>
                <a:gd name="csX1246" fmla="*/ 940358 w 1006844"/>
                <a:gd name="csY1246" fmla="*/ 626465 h 884702"/>
                <a:gd name="csX1247" fmla="*/ 953149 w 1006844"/>
                <a:gd name="csY1247" fmla="*/ 639256 h 884702"/>
                <a:gd name="csX1248" fmla="*/ 965940 w 1006844"/>
                <a:gd name="csY1248" fmla="*/ 626465 h 884702"/>
                <a:gd name="csX1249" fmla="*/ 953149 w 1006844"/>
                <a:gd name="csY1249" fmla="*/ 613674 h 884702"/>
                <a:gd name="csX1250" fmla="*/ 953149 w 1006844"/>
                <a:gd name="csY1250" fmla="*/ 654578 h 884702"/>
                <a:gd name="csX1251" fmla="*/ 940358 w 1006844"/>
                <a:gd name="csY1251" fmla="*/ 667369 h 884702"/>
                <a:gd name="csX1252" fmla="*/ 953149 w 1006844"/>
                <a:gd name="csY1252" fmla="*/ 680160 h 884702"/>
                <a:gd name="csX1253" fmla="*/ 965940 w 1006844"/>
                <a:gd name="csY1253" fmla="*/ 667369 h 884702"/>
                <a:gd name="csX1254" fmla="*/ 953149 w 1006844"/>
                <a:gd name="csY1254" fmla="*/ 654578 h 884702"/>
                <a:gd name="csX1255" fmla="*/ 953149 w 1006844"/>
                <a:gd name="csY1255" fmla="*/ 695482 h 884702"/>
                <a:gd name="csX1256" fmla="*/ 940358 w 1006844"/>
                <a:gd name="csY1256" fmla="*/ 708273 h 884702"/>
                <a:gd name="csX1257" fmla="*/ 953149 w 1006844"/>
                <a:gd name="csY1257" fmla="*/ 721064 h 884702"/>
                <a:gd name="csX1258" fmla="*/ 965940 w 1006844"/>
                <a:gd name="csY1258" fmla="*/ 708273 h 884702"/>
                <a:gd name="csX1259" fmla="*/ 953149 w 1006844"/>
                <a:gd name="csY1259" fmla="*/ 695482 h 884702"/>
                <a:gd name="csX1260" fmla="*/ 953149 w 1006844"/>
                <a:gd name="csY1260" fmla="*/ 736386 h 884702"/>
                <a:gd name="csX1261" fmla="*/ 940358 w 1006844"/>
                <a:gd name="csY1261" fmla="*/ 749177 h 884702"/>
                <a:gd name="csX1262" fmla="*/ 953149 w 1006844"/>
                <a:gd name="csY1262" fmla="*/ 761968 h 884702"/>
                <a:gd name="csX1263" fmla="*/ 965940 w 1006844"/>
                <a:gd name="csY1263" fmla="*/ 749177 h 884702"/>
                <a:gd name="csX1264" fmla="*/ 953149 w 1006844"/>
                <a:gd name="csY1264" fmla="*/ 736386 h 884702"/>
                <a:gd name="csX1265" fmla="*/ 953149 w 1006844"/>
                <a:gd name="csY1265" fmla="*/ 777313 h 884702"/>
                <a:gd name="csX1266" fmla="*/ 940358 w 1006844"/>
                <a:gd name="csY1266" fmla="*/ 790104 h 884702"/>
                <a:gd name="csX1267" fmla="*/ 953149 w 1006844"/>
                <a:gd name="csY1267" fmla="*/ 802895 h 884702"/>
                <a:gd name="csX1268" fmla="*/ 965940 w 1006844"/>
                <a:gd name="csY1268" fmla="*/ 790104 h 884702"/>
                <a:gd name="csX1269" fmla="*/ 953149 w 1006844"/>
                <a:gd name="csY1269" fmla="*/ 777313 h 884702"/>
                <a:gd name="csX1270" fmla="*/ 953149 w 1006844"/>
                <a:gd name="csY1270" fmla="*/ 818217 h 884702"/>
                <a:gd name="csX1271" fmla="*/ 940358 w 1006844"/>
                <a:gd name="csY1271" fmla="*/ 831008 h 884702"/>
                <a:gd name="csX1272" fmla="*/ 953149 w 1006844"/>
                <a:gd name="csY1272" fmla="*/ 843799 h 884702"/>
                <a:gd name="csX1273" fmla="*/ 965940 w 1006844"/>
                <a:gd name="csY1273" fmla="*/ 831008 h 884702"/>
                <a:gd name="csX1274" fmla="*/ 953149 w 1006844"/>
                <a:gd name="csY1274" fmla="*/ 818217 h 884702"/>
                <a:gd name="csX1275" fmla="*/ 953149 w 1006844"/>
                <a:gd name="csY1275" fmla="*/ 859121 h 884702"/>
                <a:gd name="csX1276" fmla="*/ 940358 w 1006844"/>
                <a:gd name="csY1276" fmla="*/ 871912 h 884702"/>
                <a:gd name="csX1277" fmla="*/ 953149 w 1006844"/>
                <a:gd name="csY1277" fmla="*/ 884703 h 884702"/>
                <a:gd name="csX1278" fmla="*/ 965940 w 1006844"/>
                <a:gd name="csY1278" fmla="*/ 871912 h 884702"/>
                <a:gd name="csX1279" fmla="*/ 953149 w 1006844"/>
                <a:gd name="csY1279" fmla="*/ 859121 h 884702"/>
                <a:gd name="csX1280" fmla="*/ 912222 w 1006844"/>
                <a:gd name="csY1280" fmla="*/ 0 h 884702"/>
                <a:gd name="csX1281" fmla="*/ 899431 w 1006844"/>
                <a:gd name="csY1281" fmla="*/ 12791 h 884702"/>
                <a:gd name="csX1282" fmla="*/ 912222 w 1006844"/>
                <a:gd name="csY1282" fmla="*/ 25582 h 884702"/>
                <a:gd name="csX1283" fmla="*/ 925013 w 1006844"/>
                <a:gd name="csY1283" fmla="*/ 12791 h 884702"/>
                <a:gd name="csX1284" fmla="*/ 912222 w 1006844"/>
                <a:gd name="csY1284" fmla="*/ 0 h 884702"/>
                <a:gd name="csX1285" fmla="*/ 912222 w 1006844"/>
                <a:gd name="csY1285" fmla="*/ 40904 h 884702"/>
                <a:gd name="csX1286" fmla="*/ 899431 w 1006844"/>
                <a:gd name="csY1286" fmla="*/ 53695 h 884702"/>
                <a:gd name="csX1287" fmla="*/ 912222 w 1006844"/>
                <a:gd name="csY1287" fmla="*/ 66486 h 884702"/>
                <a:gd name="csX1288" fmla="*/ 925013 w 1006844"/>
                <a:gd name="csY1288" fmla="*/ 53695 h 884702"/>
                <a:gd name="csX1289" fmla="*/ 912222 w 1006844"/>
                <a:gd name="csY1289" fmla="*/ 40904 h 884702"/>
                <a:gd name="csX1290" fmla="*/ 912222 w 1006844"/>
                <a:gd name="csY1290" fmla="*/ 81831 h 884702"/>
                <a:gd name="csX1291" fmla="*/ 899431 w 1006844"/>
                <a:gd name="csY1291" fmla="*/ 94622 h 884702"/>
                <a:gd name="csX1292" fmla="*/ 912222 w 1006844"/>
                <a:gd name="csY1292" fmla="*/ 107413 h 884702"/>
                <a:gd name="csX1293" fmla="*/ 925013 w 1006844"/>
                <a:gd name="csY1293" fmla="*/ 94622 h 884702"/>
                <a:gd name="csX1294" fmla="*/ 912222 w 1006844"/>
                <a:gd name="csY1294" fmla="*/ 81831 h 884702"/>
                <a:gd name="csX1295" fmla="*/ 912222 w 1006844"/>
                <a:gd name="csY1295" fmla="*/ 122735 h 884702"/>
                <a:gd name="csX1296" fmla="*/ 899431 w 1006844"/>
                <a:gd name="csY1296" fmla="*/ 135526 h 884702"/>
                <a:gd name="csX1297" fmla="*/ 912222 w 1006844"/>
                <a:gd name="csY1297" fmla="*/ 148317 h 884702"/>
                <a:gd name="csX1298" fmla="*/ 925013 w 1006844"/>
                <a:gd name="csY1298" fmla="*/ 135526 h 884702"/>
                <a:gd name="csX1299" fmla="*/ 912222 w 1006844"/>
                <a:gd name="csY1299" fmla="*/ 122735 h 884702"/>
                <a:gd name="csX1300" fmla="*/ 912222 w 1006844"/>
                <a:gd name="csY1300" fmla="*/ 163639 h 884702"/>
                <a:gd name="csX1301" fmla="*/ 899431 w 1006844"/>
                <a:gd name="csY1301" fmla="*/ 176430 h 884702"/>
                <a:gd name="csX1302" fmla="*/ 912222 w 1006844"/>
                <a:gd name="csY1302" fmla="*/ 189221 h 884702"/>
                <a:gd name="csX1303" fmla="*/ 925013 w 1006844"/>
                <a:gd name="csY1303" fmla="*/ 176430 h 884702"/>
                <a:gd name="csX1304" fmla="*/ 912222 w 1006844"/>
                <a:gd name="csY1304" fmla="*/ 163639 h 884702"/>
                <a:gd name="csX1305" fmla="*/ 912222 w 1006844"/>
                <a:gd name="csY1305" fmla="*/ 204543 h 884702"/>
                <a:gd name="csX1306" fmla="*/ 899431 w 1006844"/>
                <a:gd name="csY1306" fmla="*/ 217334 h 884702"/>
                <a:gd name="csX1307" fmla="*/ 912222 w 1006844"/>
                <a:gd name="csY1307" fmla="*/ 230125 h 884702"/>
                <a:gd name="csX1308" fmla="*/ 925013 w 1006844"/>
                <a:gd name="csY1308" fmla="*/ 217334 h 884702"/>
                <a:gd name="csX1309" fmla="*/ 912222 w 1006844"/>
                <a:gd name="csY1309" fmla="*/ 204543 h 884702"/>
                <a:gd name="csX1310" fmla="*/ 912222 w 1006844"/>
                <a:gd name="csY1310" fmla="*/ 245470 h 884702"/>
                <a:gd name="csX1311" fmla="*/ 899431 w 1006844"/>
                <a:gd name="csY1311" fmla="*/ 258261 h 884702"/>
                <a:gd name="csX1312" fmla="*/ 912222 w 1006844"/>
                <a:gd name="csY1312" fmla="*/ 271052 h 884702"/>
                <a:gd name="csX1313" fmla="*/ 925013 w 1006844"/>
                <a:gd name="csY1313" fmla="*/ 258261 h 884702"/>
                <a:gd name="csX1314" fmla="*/ 912222 w 1006844"/>
                <a:gd name="csY1314" fmla="*/ 245470 h 884702"/>
                <a:gd name="csX1315" fmla="*/ 912222 w 1006844"/>
                <a:gd name="csY1315" fmla="*/ 409108 h 884702"/>
                <a:gd name="csX1316" fmla="*/ 899431 w 1006844"/>
                <a:gd name="csY1316" fmla="*/ 421899 h 884702"/>
                <a:gd name="csX1317" fmla="*/ 912222 w 1006844"/>
                <a:gd name="csY1317" fmla="*/ 434690 h 884702"/>
                <a:gd name="csX1318" fmla="*/ 925013 w 1006844"/>
                <a:gd name="csY1318" fmla="*/ 421899 h 884702"/>
                <a:gd name="csX1319" fmla="*/ 912222 w 1006844"/>
                <a:gd name="csY1319" fmla="*/ 409108 h 884702"/>
                <a:gd name="csX1320" fmla="*/ 912222 w 1006844"/>
                <a:gd name="csY1320" fmla="*/ 450012 h 884702"/>
                <a:gd name="csX1321" fmla="*/ 899431 w 1006844"/>
                <a:gd name="csY1321" fmla="*/ 462803 h 884702"/>
                <a:gd name="csX1322" fmla="*/ 912222 w 1006844"/>
                <a:gd name="csY1322" fmla="*/ 475594 h 884702"/>
                <a:gd name="csX1323" fmla="*/ 925013 w 1006844"/>
                <a:gd name="csY1323" fmla="*/ 462803 h 884702"/>
                <a:gd name="csX1324" fmla="*/ 912222 w 1006844"/>
                <a:gd name="csY1324" fmla="*/ 450012 h 884702"/>
                <a:gd name="csX1325" fmla="*/ 912222 w 1006844"/>
                <a:gd name="csY1325" fmla="*/ 490939 h 884702"/>
                <a:gd name="csX1326" fmla="*/ 899431 w 1006844"/>
                <a:gd name="csY1326" fmla="*/ 503730 h 884702"/>
                <a:gd name="csX1327" fmla="*/ 912222 w 1006844"/>
                <a:gd name="csY1327" fmla="*/ 516521 h 884702"/>
                <a:gd name="csX1328" fmla="*/ 925013 w 1006844"/>
                <a:gd name="csY1328" fmla="*/ 503730 h 884702"/>
                <a:gd name="csX1329" fmla="*/ 912222 w 1006844"/>
                <a:gd name="csY1329" fmla="*/ 490939 h 884702"/>
                <a:gd name="csX1330" fmla="*/ 912222 w 1006844"/>
                <a:gd name="csY1330" fmla="*/ 531843 h 884702"/>
                <a:gd name="csX1331" fmla="*/ 899431 w 1006844"/>
                <a:gd name="csY1331" fmla="*/ 544634 h 884702"/>
                <a:gd name="csX1332" fmla="*/ 912222 w 1006844"/>
                <a:gd name="csY1332" fmla="*/ 557425 h 884702"/>
                <a:gd name="csX1333" fmla="*/ 925013 w 1006844"/>
                <a:gd name="csY1333" fmla="*/ 544634 h 884702"/>
                <a:gd name="csX1334" fmla="*/ 912222 w 1006844"/>
                <a:gd name="csY1334" fmla="*/ 531843 h 884702"/>
                <a:gd name="csX1335" fmla="*/ 912222 w 1006844"/>
                <a:gd name="csY1335" fmla="*/ 572747 h 884702"/>
                <a:gd name="csX1336" fmla="*/ 899431 w 1006844"/>
                <a:gd name="csY1336" fmla="*/ 585538 h 884702"/>
                <a:gd name="csX1337" fmla="*/ 912222 w 1006844"/>
                <a:gd name="csY1337" fmla="*/ 598329 h 884702"/>
                <a:gd name="csX1338" fmla="*/ 925013 w 1006844"/>
                <a:gd name="csY1338" fmla="*/ 585538 h 884702"/>
                <a:gd name="csX1339" fmla="*/ 912222 w 1006844"/>
                <a:gd name="csY1339" fmla="*/ 572747 h 884702"/>
                <a:gd name="csX1340" fmla="*/ 912222 w 1006844"/>
                <a:gd name="csY1340" fmla="*/ 613674 h 884702"/>
                <a:gd name="csX1341" fmla="*/ 899431 w 1006844"/>
                <a:gd name="csY1341" fmla="*/ 626465 h 884702"/>
                <a:gd name="csX1342" fmla="*/ 912222 w 1006844"/>
                <a:gd name="csY1342" fmla="*/ 639256 h 884702"/>
                <a:gd name="csX1343" fmla="*/ 925013 w 1006844"/>
                <a:gd name="csY1343" fmla="*/ 626465 h 884702"/>
                <a:gd name="csX1344" fmla="*/ 912222 w 1006844"/>
                <a:gd name="csY1344" fmla="*/ 613674 h 884702"/>
                <a:gd name="csX1345" fmla="*/ 912222 w 1006844"/>
                <a:gd name="csY1345" fmla="*/ 654578 h 884702"/>
                <a:gd name="csX1346" fmla="*/ 899431 w 1006844"/>
                <a:gd name="csY1346" fmla="*/ 667369 h 884702"/>
                <a:gd name="csX1347" fmla="*/ 912222 w 1006844"/>
                <a:gd name="csY1347" fmla="*/ 680160 h 884702"/>
                <a:gd name="csX1348" fmla="*/ 925013 w 1006844"/>
                <a:gd name="csY1348" fmla="*/ 667369 h 884702"/>
                <a:gd name="csX1349" fmla="*/ 912222 w 1006844"/>
                <a:gd name="csY1349" fmla="*/ 654578 h 884702"/>
                <a:gd name="csX1350" fmla="*/ 912222 w 1006844"/>
                <a:gd name="csY1350" fmla="*/ 695482 h 884702"/>
                <a:gd name="csX1351" fmla="*/ 899431 w 1006844"/>
                <a:gd name="csY1351" fmla="*/ 708273 h 884702"/>
                <a:gd name="csX1352" fmla="*/ 912222 w 1006844"/>
                <a:gd name="csY1352" fmla="*/ 721064 h 884702"/>
                <a:gd name="csX1353" fmla="*/ 925013 w 1006844"/>
                <a:gd name="csY1353" fmla="*/ 708273 h 884702"/>
                <a:gd name="csX1354" fmla="*/ 912222 w 1006844"/>
                <a:gd name="csY1354" fmla="*/ 695482 h 884702"/>
                <a:gd name="csX1355" fmla="*/ 912222 w 1006844"/>
                <a:gd name="csY1355" fmla="*/ 736386 h 884702"/>
                <a:gd name="csX1356" fmla="*/ 899431 w 1006844"/>
                <a:gd name="csY1356" fmla="*/ 749177 h 884702"/>
                <a:gd name="csX1357" fmla="*/ 912222 w 1006844"/>
                <a:gd name="csY1357" fmla="*/ 761968 h 884702"/>
                <a:gd name="csX1358" fmla="*/ 925013 w 1006844"/>
                <a:gd name="csY1358" fmla="*/ 749177 h 884702"/>
                <a:gd name="csX1359" fmla="*/ 912222 w 1006844"/>
                <a:gd name="csY1359" fmla="*/ 736386 h 884702"/>
                <a:gd name="csX1360" fmla="*/ 912222 w 1006844"/>
                <a:gd name="csY1360" fmla="*/ 777313 h 884702"/>
                <a:gd name="csX1361" fmla="*/ 899431 w 1006844"/>
                <a:gd name="csY1361" fmla="*/ 790104 h 884702"/>
                <a:gd name="csX1362" fmla="*/ 912222 w 1006844"/>
                <a:gd name="csY1362" fmla="*/ 802895 h 884702"/>
                <a:gd name="csX1363" fmla="*/ 925013 w 1006844"/>
                <a:gd name="csY1363" fmla="*/ 790104 h 884702"/>
                <a:gd name="csX1364" fmla="*/ 912222 w 1006844"/>
                <a:gd name="csY1364" fmla="*/ 777313 h 884702"/>
                <a:gd name="csX1365" fmla="*/ 912222 w 1006844"/>
                <a:gd name="csY1365" fmla="*/ 818217 h 884702"/>
                <a:gd name="csX1366" fmla="*/ 899431 w 1006844"/>
                <a:gd name="csY1366" fmla="*/ 831008 h 884702"/>
                <a:gd name="csX1367" fmla="*/ 912222 w 1006844"/>
                <a:gd name="csY1367" fmla="*/ 843799 h 884702"/>
                <a:gd name="csX1368" fmla="*/ 925013 w 1006844"/>
                <a:gd name="csY1368" fmla="*/ 831008 h 884702"/>
                <a:gd name="csX1369" fmla="*/ 912222 w 1006844"/>
                <a:gd name="csY1369" fmla="*/ 818217 h 884702"/>
                <a:gd name="csX1370" fmla="*/ 912222 w 1006844"/>
                <a:gd name="csY1370" fmla="*/ 859121 h 884702"/>
                <a:gd name="csX1371" fmla="*/ 899431 w 1006844"/>
                <a:gd name="csY1371" fmla="*/ 871912 h 884702"/>
                <a:gd name="csX1372" fmla="*/ 912222 w 1006844"/>
                <a:gd name="csY1372" fmla="*/ 884703 h 884702"/>
                <a:gd name="csX1373" fmla="*/ 925013 w 1006844"/>
                <a:gd name="csY1373" fmla="*/ 871912 h 884702"/>
                <a:gd name="csX1374" fmla="*/ 912222 w 1006844"/>
                <a:gd name="csY1374" fmla="*/ 859121 h 884702"/>
                <a:gd name="csX1375" fmla="*/ 871318 w 1006844"/>
                <a:gd name="csY1375" fmla="*/ 0 h 884702"/>
                <a:gd name="csX1376" fmla="*/ 858527 w 1006844"/>
                <a:gd name="csY1376" fmla="*/ 12791 h 884702"/>
                <a:gd name="csX1377" fmla="*/ 871318 w 1006844"/>
                <a:gd name="csY1377" fmla="*/ 25582 h 884702"/>
                <a:gd name="csX1378" fmla="*/ 884110 w 1006844"/>
                <a:gd name="csY1378" fmla="*/ 12791 h 884702"/>
                <a:gd name="csX1379" fmla="*/ 871318 w 1006844"/>
                <a:gd name="csY1379" fmla="*/ 0 h 884702"/>
                <a:gd name="csX1380" fmla="*/ 871318 w 1006844"/>
                <a:gd name="csY1380" fmla="*/ 40904 h 884702"/>
                <a:gd name="csX1381" fmla="*/ 858527 w 1006844"/>
                <a:gd name="csY1381" fmla="*/ 53695 h 884702"/>
                <a:gd name="csX1382" fmla="*/ 871318 w 1006844"/>
                <a:gd name="csY1382" fmla="*/ 66486 h 884702"/>
                <a:gd name="csX1383" fmla="*/ 884110 w 1006844"/>
                <a:gd name="csY1383" fmla="*/ 53695 h 884702"/>
                <a:gd name="csX1384" fmla="*/ 871318 w 1006844"/>
                <a:gd name="csY1384" fmla="*/ 40904 h 884702"/>
                <a:gd name="csX1385" fmla="*/ 871318 w 1006844"/>
                <a:gd name="csY1385" fmla="*/ 81831 h 884702"/>
                <a:gd name="csX1386" fmla="*/ 858527 w 1006844"/>
                <a:gd name="csY1386" fmla="*/ 94622 h 884702"/>
                <a:gd name="csX1387" fmla="*/ 871318 w 1006844"/>
                <a:gd name="csY1387" fmla="*/ 107413 h 884702"/>
                <a:gd name="csX1388" fmla="*/ 884110 w 1006844"/>
                <a:gd name="csY1388" fmla="*/ 94622 h 884702"/>
                <a:gd name="csX1389" fmla="*/ 871318 w 1006844"/>
                <a:gd name="csY1389" fmla="*/ 81831 h 884702"/>
                <a:gd name="csX1390" fmla="*/ 871318 w 1006844"/>
                <a:gd name="csY1390" fmla="*/ 122735 h 884702"/>
                <a:gd name="csX1391" fmla="*/ 858527 w 1006844"/>
                <a:gd name="csY1391" fmla="*/ 135526 h 884702"/>
                <a:gd name="csX1392" fmla="*/ 871318 w 1006844"/>
                <a:gd name="csY1392" fmla="*/ 148317 h 884702"/>
                <a:gd name="csX1393" fmla="*/ 884110 w 1006844"/>
                <a:gd name="csY1393" fmla="*/ 135526 h 884702"/>
                <a:gd name="csX1394" fmla="*/ 871318 w 1006844"/>
                <a:gd name="csY1394" fmla="*/ 122735 h 884702"/>
                <a:gd name="csX1395" fmla="*/ 871318 w 1006844"/>
                <a:gd name="csY1395" fmla="*/ 163639 h 884702"/>
                <a:gd name="csX1396" fmla="*/ 858527 w 1006844"/>
                <a:gd name="csY1396" fmla="*/ 176430 h 884702"/>
                <a:gd name="csX1397" fmla="*/ 871318 w 1006844"/>
                <a:gd name="csY1397" fmla="*/ 189221 h 884702"/>
                <a:gd name="csX1398" fmla="*/ 884110 w 1006844"/>
                <a:gd name="csY1398" fmla="*/ 176430 h 884702"/>
                <a:gd name="csX1399" fmla="*/ 871318 w 1006844"/>
                <a:gd name="csY1399" fmla="*/ 163639 h 884702"/>
                <a:gd name="csX1400" fmla="*/ 871318 w 1006844"/>
                <a:gd name="csY1400" fmla="*/ 204543 h 884702"/>
                <a:gd name="csX1401" fmla="*/ 858527 w 1006844"/>
                <a:gd name="csY1401" fmla="*/ 217334 h 884702"/>
                <a:gd name="csX1402" fmla="*/ 871318 w 1006844"/>
                <a:gd name="csY1402" fmla="*/ 230125 h 884702"/>
                <a:gd name="csX1403" fmla="*/ 884110 w 1006844"/>
                <a:gd name="csY1403" fmla="*/ 217334 h 884702"/>
                <a:gd name="csX1404" fmla="*/ 871318 w 1006844"/>
                <a:gd name="csY1404" fmla="*/ 204543 h 884702"/>
                <a:gd name="csX1405" fmla="*/ 871318 w 1006844"/>
                <a:gd name="csY1405" fmla="*/ 245470 h 884702"/>
                <a:gd name="csX1406" fmla="*/ 858527 w 1006844"/>
                <a:gd name="csY1406" fmla="*/ 258261 h 884702"/>
                <a:gd name="csX1407" fmla="*/ 871318 w 1006844"/>
                <a:gd name="csY1407" fmla="*/ 271052 h 884702"/>
                <a:gd name="csX1408" fmla="*/ 884110 w 1006844"/>
                <a:gd name="csY1408" fmla="*/ 258261 h 884702"/>
                <a:gd name="csX1409" fmla="*/ 871318 w 1006844"/>
                <a:gd name="csY1409" fmla="*/ 245470 h 884702"/>
                <a:gd name="csX1410" fmla="*/ 871318 w 1006844"/>
                <a:gd name="csY1410" fmla="*/ 286374 h 884702"/>
                <a:gd name="csX1411" fmla="*/ 858527 w 1006844"/>
                <a:gd name="csY1411" fmla="*/ 299165 h 884702"/>
                <a:gd name="csX1412" fmla="*/ 871318 w 1006844"/>
                <a:gd name="csY1412" fmla="*/ 311956 h 884702"/>
                <a:gd name="csX1413" fmla="*/ 884110 w 1006844"/>
                <a:gd name="csY1413" fmla="*/ 299165 h 884702"/>
                <a:gd name="csX1414" fmla="*/ 871318 w 1006844"/>
                <a:gd name="csY1414" fmla="*/ 286374 h 884702"/>
                <a:gd name="csX1415" fmla="*/ 871318 w 1006844"/>
                <a:gd name="csY1415" fmla="*/ 409108 h 884702"/>
                <a:gd name="csX1416" fmla="*/ 858527 w 1006844"/>
                <a:gd name="csY1416" fmla="*/ 421899 h 884702"/>
                <a:gd name="csX1417" fmla="*/ 871318 w 1006844"/>
                <a:gd name="csY1417" fmla="*/ 434690 h 884702"/>
                <a:gd name="csX1418" fmla="*/ 884110 w 1006844"/>
                <a:gd name="csY1418" fmla="*/ 421899 h 884702"/>
                <a:gd name="csX1419" fmla="*/ 871318 w 1006844"/>
                <a:gd name="csY1419" fmla="*/ 409108 h 884702"/>
                <a:gd name="csX1420" fmla="*/ 871318 w 1006844"/>
                <a:gd name="csY1420" fmla="*/ 450012 h 884702"/>
                <a:gd name="csX1421" fmla="*/ 858527 w 1006844"/>
                <a:gd name="csY1421" fmla="*/ 462803 h 884702"/>
                <a:gd name="csX1422" fmla="*/ 871318 w 1006844"/>
                <a:gd name="csY1422" fmla="*/ 475594 h 884702"/>
                <a:gd name="csX1423" fmla="*/ 884110 w 1006844"/>
                <a:gd name="csY1423" fmla="*/ 462803 h 884702"/>
                <a:gd name="csX1424" fmla="*/ 871318 w 1006844"/>
                <a:gd name="csY1424" fmla="*/ 450012 h 884702"/>
                <a:gd name="csX1425" fmla="*/ 871318 w 1006844"/>
                <a:gd name="csY1425" fmla="*/ 490939 h 884702"/>
                <a:gd name="csX1426" fmla="*/ 858527 w 1006844"/>
                <a:gd name="csY1426" fmla="*/ 503730 h 884702"/>
                <a:gd name="csX1427" fmla="*/ 871318 w 1006844"/>
                <a:gd name="csY1427" fmla="*/ 516521 h 884702"/>
                <a:gd name="csX1428" fmla="*/ 884110 w 1006844"/>
                <a:gd name="csY1428" fmla="*/ 503730 h 884702"/>
                <a:gd name="csX1429" fmla="*/ 871318 w 1006844"/>
                <a:gd name="csY1429" fmla="*/ 490939 h 884702"/>
                <a:gd name="csX1430" fmla="*/ 871318 w 1006844"/>
                <a:gd name="csY1430" fmla="*/ 531843 h 884702"/>
                <a:gd name="csX1431" fmla="*/ 858527 w 1006844"/>
                <a:gd name="csY1431" fmla="*/ 544634 h 884702"/>
                <a:gd name="csX1432" fmla="*/ 871318 w 1006844"/>
                <a:gd name="csY1432" fmla="*/ 557425 h 884702"/>
                <a:gd name="csX1433" fmla="*/ 884110 w 1006844"/>
                <a:gd name="csY1433" fmla="*/ 544634 h 884702"/>
                <a:gd name="csX1434" fmla="*/ 871318 w 1006844"/>
                <a:gd name="csY1434" fmla="*/ 531843 h 884702"/>
                <a:gd name="csX1435" fmla="*/ 871318 w 1006844"/>
                <a:gd name="csY1435" fmla="*/ 572747 h 884702"/>
                <a:gd name="csX1436" fmla="*/ 858527 w 1006844"/>
                <a:gd name="csY1436" fmla="*/ 585538 h 884702"/>
                <a:gd name="csX1437" fmla="*/ 871318 w 1006844"/>
                <a:gd name="csY1437" fmla="*/ 598329 h 884702"/>
                <a:gd name="csX1438" fmla="*/ 884110 w 1006844"/>
                <a:gd name="csY1438" fmla="*/ 585538 h 884702"/>
                <a:gd name="csX1439" fmla="*/ 871318 w 1006844"/>
                <a:gd name="csY1439" fmla="*/ 572747 h 884702"/>
                <a:gd name="csX1440" fmla="*/ 871318 w 1006844"/>
                <a:gd name="csY1440" fmla="*/ 613674 h 884702"/>
                <a:gd name="csX1441" fmla="*/ 858527 w 1006844"/>
                <a:gd name="csY1441" fmla="*/ 626465 h 884702"/>
                <a:gd name="csX1442" fmla="*/ 871318 w 1006844"/>
                <a:gd name="csY1442" fmla="*/ 639256 h 884702"/>
                <a:gd name="csX1443" fmla="*/ 884110 w 1006844"/>
                <a:gd name="csY1443" fmla="*/ 626465 h 884702"/>
                <a:gd name="csX1444" fmla="*/ 871318 w 1006844"/>
                <a:gd name="csY1444" fmla="*/ 613674 h 884702"/>
                <a:gd name="csX1445" fmla="*/ 871318 w 1006844"/>
                <a:gd name="csY1445" fmla="*/ 654578 h 884702"/>
                <a:gd name="csX1446" fmla="*/ 858527 w 1006844"/>
                <a:gd name="csY1446" fmla="*/ 667369 h 884702"/>
                <a:gd name="csX1447" fmla="*/ 871318 w 1006844"/>
                <a:gd name="csY1447" fmla="*/ 680160 h 884702"/>
                <a:gd name="csX1448" fmla="*/ 884110 w 1006844"/>
                <a:gd name="csY1448" fmla="*/ 667369 h 884702"/>
                <a:gd name="csX1449" fmla="*/ 871318 w 1006844"/>
                <a:gd name="csY1449" fmla="*/ 654578 h 884702"/>
                <a:gd name="csX1450" fmla="*/ 871318 w 1006844"/>
                <a:gd name="csY1450" fmla="*/ 695482 h 884702"/>
                <a:gd name="csX1451" fmla="*/ 858527 w 1006844"/>
                <a:gd name="csY1451" fmla="*/ 708273 h 884702"/>
                <a:gd name="csX1452" fmla="*/ 871318 w 1006844"/>
                <a:gd name="csY1452" fmla="*/ 721064 h 884702"/>
                <a:gd name="csX1453" fmla="*/ 884110 w 1006844"/>
                <a:gd name="csY1453" fmla="*/ 708273 h 884702"/>
                <a:gd name="csX1454" fmla="*/ 871318 w 1006844"/>
                <a:gd name="csY1454" fmla="*/ 695482 h 884702"/>
                <a:gd name="csX1455" fmla="*/ 871318 w 1006844"/>
                <a:gd name="csY1455" fmla="*/ 736386 h 884702"/>
                <a:gd name="csX1456" fmla="*/ 858527 w 1006844"/>
                <a:gd name="csY1456" fmla="*/ 749177 h 884702"/>
                <a:gd name="csX1457" fmla="*/ 871318 w 1006844"/>
                <a:gd name="csY1457" fmla="*/ 761968 h 884702"/>
                <a:gd name="csX1458" fmla="*/ 884110 w 1006844"/>
                <a:gd name="csY1458" fmla="*/ 749177 h 884702"/>
                <a:gd name="csX1459" fmla="*/ 871318 w 1006844"/>
                <a:gd name="csY1459" fmla="*/ 736386 h 884702"/>
                <a:gd name="csX1460" fmla="*/ 871318 w 1006844"/>
                <a:gd name="csY1460" fmla="*/ 777313 h 884702"/>
                <a:gd name="csX1461" fmla="*/ 858527 w 1006844"/>
                <a:gd name="csY1461" fmla="*/ 790104 h 884702"/>
                <a:gd name="csX1462" fmla="*/ 871318 w 1006844"/>
                <a:gd name="csY1462" fmla="*/ 802895 h 884702"/>
                <a:gd name="csX1463" fmla="*/ 884110 w 1006844"/>
                <a:gd name="csY1463" fmla="*/ 790104 h 884702"/>
                <a:gd name="csX1464" fmla="*/ 871318 w 1006844"/>
                <a:gd name="csY1464" fmla="*/ 777313 h 884702"/>
                <a:gd name="csX1465" fmla="*/ 871318 w 1006844"/>
                <a:gd name="csY1465" fmla="*/ 818217 h 884702"/>
                <a:gd name="csX1466" fmla="*/ 858527 w 1006844"/>
                <a:gd name="csY1466" fmla="*/ 831008 h 884702"/>
                <a:gd name="csX1467" fmla="*/ 871318 w 1006844"/>
                <a:gd name="csY1467" fmla="*/ 843799 h 884702"/>
                <a:gd name="csX1468" fmla="*/ 884110 w 1006844"/>
                <a:gd name="csY1468" fmla="*/ 831008 h 884702"/>
                <a:gd name="csX1469" fmla="*/ 871318 w 1006844"/>
                <a:gd name="csY1469" fmla="*/ 818217 h 884702"/>
                <a:gd name="csX1470" fmla="*/ 871318 w 1006844"/>
                <a:gd name="csY1470" fmla="*/ 859121 h 884702"/>
                <a:gd name="csX1471" fmla="*/ 858527 w 1006844"/>
                <a:gd name="csY1471" fmla="*/ 871912 h 884702"/>
                <a:gd name="csX1472" fmla="*/ 871318 w 1006844"/>
                <a:gd name="csY1472" fmla="*/ 884703 h 884702"/>
                <a:gd name="csX1473" fmla="*/ 884110 w 1006844"/>
                <a:gd name="csY1473" fmla="*/ 871912 h 884702"/>
                <a:gd name="csX1474" fmla="*/ 871318 w 1006844"/>
                <a:gd name="csY1474" fmla="*/ 859121 h 884702"/>
                <a:gd name="csX1475" fmla="*/ 830414 w 1006844"/>
                <a:gd name="csY1475" fmla="*/ 0 h 884702"/>
                <a:gd name="csX1476" fmla="*/ 817623 w 1006844"/>
                <a:gd name="csY1476" fmla="*/ 12791 h 884702"/>
                <a:gd name="csX1477" fmla="*/ 830414 w 1006844"/>
                <a:gd name="csY1477" fmla="*/ 25582 h 884702"/>
                <a:gd name="csX1478" fmla="*/ 843206 w 1006844"/>
                <a:gd name="csY1478" fmla="*/ 12791 h 884702"/>
                <a:gd name="csX1479" fmla="*/ 830414 w 1006844"/>
                <a:gd name="csY1479" fmla="*/ 0 h 884702"/>
                <a:gd name="csX1480" fmla="*/ 830414 w 1006844"/>
                <a:gd name="csY1480" fmla="*/ 40904 h 884702"/>
                <a:gd name="csX1481" fmla="*/ 817623 w 1006844"/>
                <a:gd name="csY1481" fmla="*/ 53695 h 884702"/>
                <a:gd name="csX1482" fmla="*/ 830414 w 1006844"/>
                <a:gd name="csY1482" fmla="*/ 66486 h 884702"/>
                <a:gd name="csX1483" fmla="*/ 843206 w 1006844"/>
                <a:gd name="csY1483" fmla="*/ 53695 h 884702"/>
                <a:gd name="csX1484" fmla="*/ 830414 w 1006844"/>
                <a:gd name="csY1484" fmla="*/ 40904 h 884702"/>
                <a:gd name="csX1485" fmla="*/ 830414 w 1006844"/>
                <a:gd name="csY1485" fmla="*/ 81831 h 884702"/>
                <a:gd name="csX1486" fmla="*/ 817623 w 1006844"/>
                <a:gd name="csY1486" fmla="*/ 94622 h 884702"/>
                <a:gd name="csX1487" fmla="*/ 830414 w 1006844"/>
                <a:gd name="csY1487" fmla="*/ 107413 h 884702"/>
                <a:gd name="csX1488" fmla="*/ 843206 w 1006844"/>
                <a:gd name="csY1488" fmla="*/ 94622 h 884702"/>
                <a:gd name="csX1489" fmla="*/ 830414 w 1006844"/>
                <a:gd name="csY1489" fmla="*/ 81831 h 884702"/>
                <a:gd name="csX1490" fmla="*/ 830414 w 1006844"/>
                <a:gd name="csY1490" fmla="*/ 122735 h 884702"/>
                <a:gd name="csX1491" fmla="*/ 817623 w 1006844"/>
                <a:gd name="csY1491" fmla="*/ 135526 h 884702"/>
                <a:gd name="csX1492" fmla="*/ 830414 w 1006844"/>
                <a:gd name="csY1492" fmla="*/ 148317 h 884702"/>
                <a:gd name="csX1493" fmla="*/ 843206 w 1006844"/>
                <a:gd name="csY1493" fmla="*/ 135526 h 884702"/>
                <a:gd name="csX1494" fmla="*/ 830414 w 1006844"/>
                <a:gd name="csY1494" fmla="*/ 122735 h 884702"/>
                <a:gd name="csX1495" fmla="*/ 830414 w 1006844"/>
                <a:gd name="csY1495" fmla="*/ 163639 h 884702"/>
                <a:gd name="csX1496" fmla="*/ 817623 w 1006844"/>
                <a:gd name="csY1496" fmla="*/ 176430 h 884702"/>
                <a:gd name="csX1497" fmla="*/ 830414 w 1006844"/>
                <a:gd name="csY1497" fmla="*/ 189221 h 884702"/>
                <a:gd name="csX1498" fmla="*/ 843206 w 1006844"/>
                <a:gd name="csY1498" fmla="*/ 176430 h 884702"/>
                <a:gd name="csX1499" fmla="*/ 830414 w 1006844"/>
                <a:gd name="csY1499" fmla="*/ 163639 h 884702"/>
                <a:gd name="csX1500" fmla="*/ 830414 w 1006844"/>
                <a:gd name="csY1500" fmla="*/ 204543 h 884702"/>
                <a:gd name="csX1501" fmla="*/ 817623 w 1006844"/>
                <a:gd name="csY1501" fmla="*/ 217334 h 884702"/>
                <a:gd name="csX1502" fmla="*/ 830414 w 1006844"/>
                <a:gd name="csY1502" fmla="*/ 230125 h 884702"/>
                <a:gd name="csX1503" fmla="*/ 843206 w 1006844"/>
                <a:gd name="csY1503" fmla="*/ 217334 h 884702"/>
                <a:gd name="csX1504" fmla="*/ 830414 w 1006844"/>
                <a:gd name="csY1504" fmla="*/ 204543 h 884702"/>
                <a:gd name="csX1505" fmla="*/ 830414 w 1006844"/>
                <a:gd name="csY1505" fmla="*/ 245470 h 884702"/>
                <a:gd name="csX1506" fmla="*/ 817623 w 1006844"/>
                <a:gd name="csY1506" fmla="*/ 258261 h 884702"/>
                <a:gd name="csX1507" fmla="*/ 830414 w 1006844"/>
                <a:gd name="csY1507" fmla="*/ 271052 h 884702"/>
                <a:gd name="csX1508" fmla="*/ 843206 w 1006844"/>
                <a:gd name="csY1508" fmla="*/ 258261 h 884702"/>
                <a:gd name="csX1509" fmla="*/ 830414 w 1006844"/>
                <a:gd name="csY1509" fmla="*/ 245470 h 884702"/>
                <a:gd name="csX1510" fmla="*/ 830414 w 1006844"/>
                <a:gd name="csY1510" fmla="*/ 286374 h 884702"/>
                <a:gd name="csX1511" fmla="*/ 817623 w 1006844"/>
                <a:gd name="csY1511" fmla="*/ 299165 h 884702"/>
                <a:gd name="csX1512" fmla="*/ 830414 w 1006844"/>
                <a:gd name="csY1512" fmla="*/ 311956 h 884702"/>
                <a:gd name="csX1513" fmla="*/ 843206 w 1006844"/>
                <a:gd name="csY1513" fmla="*/ 299165 h 884702"/>
                <a:gd name="csX1514" fmla="*/ 830414 w 1006844"/>
                <a:gd name="csY1514" fmla="*/ 286374 h 884702"/>
                <a:gd name="csX1515" fmla="*/ 830414 w 1006844"/>
                <a:gd name="csY1515" fmla="*/ 327277 h 884702"/>
                <a:gd name="csX1516" fmla="*/ 817623 w 1006844"/>
                <a:gd name="csY1516" fmla="*/ 340069 h 884702"/>
                <a:gd name="csX1517" fmla="*/ 830414 w 1006844"/>
                <a:gd name="csY1517" fmla="*/ 352860 h 884702"/>
                <a:gd name="csX1518" fmla="*/ 843206 w 1006844"/>
                <a:gd name="csY1518" fmla="*/ 340069 h 884702"/>
                <a:gd name="csX1519" fmla="*/ 830414 w 1006844"/>
                <a:gd name="csY1519" fmla="*/ 327277 h 884702"/>
                <a:gd name="csX1520" fmla="*/ 830414 w 1006844"/>
                <a:gd name="csY1520" fmla="*/ 409108 h 884702"/>
                <a:gd name="csX1521" fmla="*/ 817623 w 1006844"/>
                <a:gd name="csY1521" fmla="*/ 421899 h 884702"/>
                <a:gd name="csX1522" fmla="*/ 830414 w 1006844"/>
                <a:gd name="csY1522" fmla="*/ 434690 h 884702"/>
                <a:gd name="csX1523" fmla="*/ 843206 w 1006844"/>
                <a:gd name="csY1523" fmla="*/ 421899 h 884702"/>
                <a:gd name="csX1524" fmla="*/ 830414 w 1006844"/>
                <a:gd name="csY1524" fmla="*/ 409108 h 884702"/>
                <a:gd name="csX1525" fmla="*/ 830414 w 1006844"/>
                <a:gd name="csY1525" fmla="*/ 450012 h 884702"/>
                <a:gd name="csX1526" fmla="*/ 817623 w 1006844"/>
                <a:gd name="csY1526" fmla="*/ 462803 h 884702"/>
                <a:gd name="csX1527" fmla="*/ 830414 w 1006844"/>
                <a:gd name="csY1527" fmla="*/ 475594 h 884702"/>
                <a:gd name="csX1528" fmla="*/ 843206 w 1006844"/>
                <a:gd name="csY1528" fmla="*/ 462803 h 884702"/>
                <a:gd name="csX1529" fmla="*/ 830414 w 1006844"/>
                <a:gd name="csY1529" fmla="*/ 450012 h 884702"/>
                <a:gd name="csX1530" fmla="*/ 830414 w 1006844"/>
                <a:gd name="csY1530" fmla="*/ 490939 h 884702"/>
                <a:gd name="csX1531" fmla="*/ 817623 w 1006844"/>
                <a:gd name="csY1531" fmla="*/ 503730 h 884702"/>
                <a:gd name="csX1532" fmla="*/ 830414 w 1006844"/>
                <a:gd name="csY1532" fmla="*/ 516521 h 884702"/>
                <a:gd name="csX1533" fmla="*/ 843206 w 1006844"/>
                <a:gd name="csY1533" fmla="*/ 503730 h 884702"/>
                <a:gd name="csX1534" fmla="*/ 830414 w 1006844"/>
                <a:gd name="csY1534" fmla="*/ 490939 h 884702"/>
                <a:gd name="csX1535" fmla="*/ 830414 w 1006844"/>
                <a:gd name="csY1535" fmla="*/ 531843 h 884702"/>
                <a:gd name="csX1536" fmla="*/ 817623 w 1006844"/>
                <a:gd name="csY1536" fmla="*/ 544634 h 884702"/>
                <a:gd name="csX1537" fmla="*/ 830414 w 1006844"/>
                <a:gd name="csY1537" fmla="*/ 557425 h 884702"/>
                <a:gd name="csX1538" fmla="*/ 843206 w 1006844"/>
                <a:gd name="csY1538" fmla="*/ 544634 h 884702"/>
                <a:gd name="csX1539" fmla="*/ 830414 w 1006844"/>
                <a:gd name="csY1539" fmla="*/ 531843 h 884702"/>
                <a:gd name="csX1540" fmla="*/ 830414 w 1006844"/>
                <a:gd name="csY1540" fmla="*/ 572747 h 884702"/>
                <a:gd name="csX1541" fmla="*/ 817623 w 1006844"/>
                <a:gd name="csY1541" fmla="*/ 585538 h 884702"/>
                <a:gd name="csX1542" fmla="*/ 830414 w 1006844"/>
                <a:gd name="csY1542" fmla="*/ 598329 h 884702"/>
                <a:gd name="csX1543" fmla="*/ 843206 w 1006844"/>
                <a:gd name="csY1543" fmla="*/ 585538 h 884702"/>
                <a:gd name="csX1544" fmla="*/ 830414 w 1006844"/>
                <a:gd name="csY1544" fmla="*/ 572747 h 884702"/>
                <a:gd name="csX1545" fmla="*/ 830414 w 1006844"/>
                <a:gd name="csY1545" fmla="*/ 613674 h 884702"/>
                <a:gd name="csX1546" fmla="*/ 817623 w 1006844"/>
                <a:gd name="csY1546" fmla="*/ 626465 h 884702"/>
                <a:gd name="csX1547" fmla="*/ 830414 w 1006844"/>
                <a:gd name="csY1547" fmla="*/ 639256 h 884702"/>
                <a:gd name="csX1548" fmla="*/ 843206 w 1006844"/>
                <a:gd name="csY1548" fmla="*/ 626465 h 884702"/>
                <a:gd name="csX1549" fmla="*/ 830414 w 1006844"/>
                <a:gd name="csY1549" fmla="*/ 613674 h 884702"/>
                <a:gd name="csX1550" fmla="*/ 830414 w 1006844"/>
                <a:gd name="csY1550" fmla="*/ 654578 h 884702"/>
                <a:gd name="csX1551" fmla="*/ 817623 w 1006844"/>
                <a:gd name="csY1551" fmla="*/ 667369 h 884702"/>
                <a:gd name="csX1552" fmla="*/ 830414 w 1006844"/>
                <a:gd name="csY1552" fmla="*/ 680160 h 884702"/>
                <a:gd name="csX1553" fmla="*/ 843206 w 1006844"/>
                <a:gd name="csY1553" fmla="*/ 667369 h 884702"/>
                <a:gd name="csX1554" fmla="*/ 830414 w 1006844"/>
                <a:gd name="csY1554" fmla="*/ 654578 h 884702"/>
                <a:gd name="csX1555" fmla="*/ 830414 w 1006844"/>
                <a:gd name="csY1555" fmla="*/ 695482 h 884702"/>
                <a:gd name="csX1556" fmla="*/ 817623 w 1006844"/>
                <a:gd name="csY1556" fmla="*/ 708273 h 884702"/>
                <a:gd name="csX1557" fmla="*/ 830414 w 1006844"/>
                <a:gd name="csY1557" fmla="*/ 721064 h 884702"/>
                <a:gd name="csX1558" fmla="*/ 843206 w 1006844"/>
                <a:gd name="csY1558" fmla="*/ 708273 h 884702"/>
                <a:gd name="csX1559" fmla="*/ 830414 w 1006844"/>
                <a:gd name="csY1559" fmla="*/ 695482 h 884702"/>
                <a:gd name="csX1560" fmla="*/ 830414 w 1006844"/>
                <a:gd name="csY1560" fmla="*/ 736386 h 884702"/>
                <a:gd name="csX1561" fmla="*/ 817623 w 1006844"/>
                <a:gd name="csY1561" fmla="*/ 749177 h 884702"/>
                <a:gd name="csX1562" fmla="*/ 830414 w 1006844"/>
                <a:gd name="csY1562" fmla="*/ 761968 h 884702"/>
                <a:gd name="csX1563" fmla="*/ 843206 w 1006844"/>
                <a:gd name="csY1563" fmla="*/ 749177 h 884702"/>
                <a:gd name="csX1564" fmla="*/ 830414 w 1006844"/>
                <a:gd name="csY1564" fmla="*/ 736386 h 884702"/>
                <a:gd name="csX1565" fmla="*/ 830414 w 1006844"/>
                <a:gd name="csY1565" fmla="*/ 777313 h 884702"/>
                <a:gd name="csX1566" fmla="*/ 817623 w 1006844"/>
                <a:gd name="csY1566" fmla="*/ 790104 h 884702"/>
                <a:gd name="csX1567" fmla="*/ 830414 w 1006844"/>
                <a:gd name="csY1567" fmla="*/ 802895 h 884702"/>
                <a:gd name="csX1568" fmla="*/ 843206 w 1006844"/>
                <a:gd name="csY1568" fmla="*/ 790104 h 884702"/>
                <a:gd name="csX1569" fmla="*/ 830414 w 1006844"/>
                <a:gd name="csY1569" fmla="*/ 777313 h 884702"/>
                <a:gd name="csX1570" fmla="*/ 830414 w 1006844"/>
                <a:gd name="csY1570" fmla="*/ 818217 h 884702"/>
                <a:gd name="csX1571" fmla="*/ 817623 w 1006844"/>
                <a:gd name="csY1571" fmla="*/ 831008 h 884702"/>
                <a:gd name="csX1572" fmla="*/ 830414 w 1006844"/>
                <a:gd name="csY1572" fmla="*/ 843799 h 884702"/>
                <a:gd name="csX1573" fmla="*/ 843206 w 1006844"/>
                <a:gd name="csY1573" fmla="*/ 831008 h 884702"/>
                <a:gd name="csX1574" fmla="*/ 830414 w 1006844"/>
                <a:gd name="csY1574" fmla="*/ 818217 h 884702"/>
                <a:gd name="csX1575" fmla="*/ 830414 w 1006844"/>
                <a:gd name="csY1575" fmla="*/ 859121 h 884702"/>
                <a:gd name="csX1576" fmla="*/ 817623 w 1006844"/>
                <a:gd name="csY1576" fmla="*/ 871912 h 884702"/>
                <a:gd name="csX1577" fmla="*/ 830414 w 1006844"/>
                <a:gd name="csY1577" fmla="*/ 884703 h 884702"/>
                <a:gd name="csX1578" fmla="*/ 843206 w 1006844"/>
                <a:gd name="csY1578" fmla="*/ 871912 h 884702"/>
                <a:gd name="csX1579" fmla="*/ 830414 w 1006844"/>
                <a:gd name="csY1579" fmla="*/ 859121 h 884702"/>
                <a:gd name="csX1580" fmla="*/ 789510 w 1006844"/>
                <a:gd name="csY1580" fmla="*/ 40904 h 884702"/>
                <a:gd name="csX1581" fmla="*/ 776719 w 1006844"/>
                <a:gd name="csY1581" fmla="*/ 53695 h 884702"/>
                <a:gd name="csX1582" fmla="*/ 789510 w 1006844"/>
                <a:gd name="csY1582" fmla="*/ 66486 h 884702"/>
                <a:gd name="csX1583" fmla="*/ 802302 w 1006844"/>
                <a:gd name="csY1583" fmla="*/ 53695 h 884702"/>
                <a:gd name="csX1584" fmla="*/ 789510 w 1006844"/>
                <a:gd name="csY1584" fmla="*/ 40904 h 884702"/>
                <a:gd name="csX1585" fmla="*/ 789510 w 1006844"/>
                <a:gd name="csY1585" fmla="*/ 81831 h 884702"/>
                <a:gd name="csX1586" fmla="*/ 776719 w 1006844"/>
                <a:gd name="csY1586" fmla="*/ 94622 h 884702"/>
                <a:gd name="csX1587" fmla="*/ 789510 w 1006844"/>
                <a:gd name="csY1587" fmla="*/ 107413 h 884702"/>
                <a:gd name="csX1588" fmla="*/ 802302 w 1006844"/>
                <a:gd name="csY1588" fmla="*/ 94622 h 884702"/>
                <a:gd name="csX1589" fmla="*/ 789510 w 1006844"/>
                <a:gd name="csY1589" fmla="*/ 81831 h 884702"/>
                <a:gd name="csX1590" fmla="*/ 789510 w 1006844"/>
                <a:gd name="csY1590" fmla="*/ 122735 h 884702"/>
                <a:gd name="csX1591" fmla="*/ 776719 w 1006844"/>
                <a:gd name="csY1591" fmla="*/ 135526 h 884702"/>
                <a:gd name="csX1592" fmla="*/ 789510 w 1006844"/>
                <a:gd name="csY1592" fmla="*/ 148317 h 884702"/>
                <a:gd name="csX1593" fmla="*/ 802302 w 1006844"/>
                <a:gd name="csY1593" fmla="*/ 135526 h 884702"/>
                <a:gd name="csX1594" fmla="*/ 789510 w 1006844"/>
                <a:gd name="csY1594" fmla="*/ 122735 h 884702"/>
                <a:gd name="csX1595" fmla="*/ 789510 w 1006844"/>
                <a:gd name="csY1595" fmla="*/ 163639 h 884702"/>
                <a:gd name="csX1596" fmla="*/ 776719 w 1006844"/>
                <a:gd name="csY1596" fmla="*/ 176430 h 884702"/>
                <a:gd name="csX1597" fmla="*/ 789510 w 1006844"/>
                <a:gd name="csY1597" fmla="*/ 189221 h 884702"/>
                <a:gd name="csX1598" fmla="*/ 802302 w 1006844"/>
                <a:gd name="csY1598" fmla="*/ 176430 h 884702"/>
                <a:gd name="csX1599" fmla="*/ 789510 w 1006844"/>
                <a:gd name="csY1599" fmla="*/ 163639 h 884702"/>
                <a:gd name="csX1600" fmla="*/ 789510 w 1006844"/>
                <a:gd name="csY1600" fmla="*/ 204543 h 884702"/>
                <a:gd name="csX1601" fmla="*/ 776719 w 1006844"/>
                <a:gd name="csY1601" fmla="*/ 217334 h 884702"/>
                <a:gd name="csX1602" fmla="*/ 789510 w 1006844"/>
                <a:gd name="csY1602" fmla="*/ 230125 h 884702"/>
                <a:gd name="csX1603" fmla="*/ 802302 w 1006844"/>
                <a:gd name="csY1603" fmla="*/ 217334 h 884702"/>
                <a:gd name="csX1604" fmla="*/ 789510 w 1006844"/>
                <a:gd name="csY1604" fmla="*/ 204543 h 884702"/>
                <a:gd name="csX1605" fmla="*/ 789510 w 1006844"/>
                <a:gd name="csY1605" fmla="*/ 245470 h 884702"/>
                <a:gd name="csX1606" fmla="*/ 776719 w 1006844"/>
                <a:gd name="csY1606" fmla="*/ 258261 h 884702"/>
                <a:gd name="csX1607" fmla="*/ 789510 w 1006844"/>
                <a:gd name="csY1607" fmla="*/ 271052 h 884702"/>
                <a:gd name="csX1608" fmla="*/ 802302 w 1006844"/>
                <a:gd name="csY1608" fmla="*/ 258261 h 884702"/>
                <a:gd name="csX1609" fmla="*/ 789510 w 1006844"/>
                <a:gd name="csY1609" fmla="*/ 245470 h 884702"/>
                <a:gd name="csX1610" fmla="*/ 789510 w 1006844"/>
                <a:gd name="csY1610" fmla="*/ 286374 h 884702"/>
                <a:gd name="csX1611" fmla="*/ 776719 w 1006844"/>
                <a:gd name="csY1611" fmla="*/ 299165 h 884702"/>
                <a:gd name="csX1612" fmla="*/ 789510 w 1006844"/>
                <a:gd name="csY1612" fmla="*/ 311956 h 884702"/>
                <a:gd name="csX1613" fmla="*/ 802302 w 1006844"/>
                <a:gd name="csY1613" fmla="*/ 299165 h 884702"/>
                <a:gd name="csX1614" fmla="*/ 789510 w 1006844"/>
                <a:gd name="csY1614" fmla="*/ 286374 h 884702"/>
                <a:gd name="csX1615" fmla="*/ 789510 w 1006844"/>
                <a:gd name="csY1615" fmla="*/ 327277 h 884702"/>
                <a:gd name="csX1616" fmla="*/ 776719 w 1006844"/>
                <a:gd name="csY1616" fmla="*/ 340069 h 884702"/>
                <a:gd name="csX1617" fmla="*/ 789510 w 1006844"/>
                <a:gd name="csY1617" fmla="*/ 352860 h 884702"/>
                <a:gd name="csX1618" fmla="*/ 802302 w 1006844"/>
                <a:gd name="csY1618" fmla="*/ 340069 h 884702"/>
                <a:gd name="csX1619" fmla="*/ 789510 w 1006844"/>
                <a:gd name="csY1619" fmla="*/ 327277 h 884702"/>
                <a:gd name="csX1620" fmla="*/ 789510 w 1006844"/>
                <a:gd name="csY1620" fmla="*/ 368204 h 884702"/>
                <a:gd name="csX1621" fmla="*/ 776719 w 1006844"/>
                <a:gd name="csY1621" fmla="*/ 380995 h 884702"/>
                <a:gd name="csX1622" fmla="*/ 789510 w 1006844"/>
                <a:gd name="csY1622" fmla="*/ 393786 h 884702"/>
                <a:gd name="csX1623" fmla="*/ 802302 w 1006844"/>
                <a:gd name="csY1623" fmla="*/ 380995 h 884702"/>
                <a:gd name="csX1624" fmla="*/ 789510 w 1006844"/>
                <a:gd name="csY1624" fmla="*/ 368204 h 884702"/>
                <a:gd name="csX1625" fmla="*/ 789510 w 1006844"/>
                <a:gd name="csY1625" fmla="*/ 409108 h 884702"/>
                <a:gd name="csX1626" fmla="*/ 776719 w 1006844"/>
                <a:gd name="csY1626" fmla="*/ 421899 h 884702"/>
                <a:gd name="csX1627" fmla="*/ 789510 w 1006844"/>
                <a:gd name="csY1627" fmla="*/ 434690 h 884702"/>
                <a:gd name="csX1628" fmla="*/ 802302 w 1006844"/>
                <a:gd name="csY1628" fmla="*/ 421899 h 884702"/>
                <a:gd name="csX1629" fmla="*/ 789510 w 1006844"/>
                <a:gd name="csY1629" fmla="*/ 409108 h 884702"/>
                <a:gd name="csX1630" fmla="*/ 789510 w 1006844"/>
                <a:gd name="csY1630" fmla="*/ 450012 h 884702"/>
                <a:gd name="csX1631" fmla="*/ 776719 w 1006844"/>
                <a:gd name="csY1631" fmla="*/ 462803 h 884702"/>
                <a:gd name="csX1632" fmla="*/ 789510 w 1006844"/>
                <a:gd name="csY1632" fmla="*/ 475594 h 884702"/>
                <a:gd name="csX1633" fmla="*/ 802302 w 1006844"/>
                <a:gd name="csY1633" fmla="*/ 462803 h 884702"/>
                <a:gd name="csX1634" fmla="*/ 789510 w 1006844"/>
                <a:gd name="csY1634" fmla="*/ 450012 h 884702"/>
                <a:gd name="csX1635" fmla="*/ 789510 w 1006844"/>
                <a:gd name="csY1635" fmla="*/ 490939 h 884702"/>
                <a:gd name="csX1636" fmla="*/ 776719 w 1006844"/>
                <a:gd name="csY1636" fmla="*/ 503730 h 884702"/>
                <a:gd name="csX1637" fmla="*/ 789510 w 1006844"/>
                <a:gd name="csY1637" fmla="*/ 516521 h 884702"/>
                <a:gd name="csX1638" fmla="*/ 802302 w 1006844"/>
                <a:gd name="csY1638" fmla="*/ 503730 h 884702"/>
                <a:gd name="csX1639" fmla="*/ 789510 w 1006844"/>
                <a:gd name="csY1639" fmla="*/ 490939 h 884702"/>
                <a:gd name="csX1640" fmla="*/ 789510 w 1006844"/>
                <a:gd name="csY1640" fmla="*/ 531843 h 884702"/>
                <a:gd name="csX1641" fmla="*/ 776719 w 1006844"/>
                <a:gd name="csY1641" fmla="*/ 544634 h 884702"/>
                <a:gd name="csX1642" fmla="*/ 789510 w 1006844"/>
                <a:gd name="csY1642" fmla="*/ 557425 h 884702"/>
                <a:gd name="csX1643" fmla="*/ 802302 w 1006844"/>
                <a:gd name="csY1643" fmla="*/ 544634 h 884702"/>
                <a:gd name="csX1644" fmla="*/ 789510 w 1006844"/>
                <a:gd name="csY1644" fmla="*/ 531843 h 884702"/>
                <a:gd name="csX1645" fmla="*/ 789510 w 1006844"/>
                <a:gd name="csY1645" fmla="*/ 572747 h 884702"/>
                <a:gd name="csX1646" fmla="*/ 776719 w 1006844"/>
                <a:gd name="csY1646" fmla="*/ 585538 h 884702"/>
                <a:gd name="csX1647" fmla="*/ 789510 w 1006844"/>
                <a:gd name="csY1647" fmla="*/ 598329 h 884702"/>
                <a:gd name="csX1648" fmla="*/ 802302 w 1006844"/>
                <a:gd name="csY1648" fmla="*/ 585538 h 884702"/>
                <a:gd name="csX1649" fmla="*/ 789510 w 1006844"/>
                <a:gd name="csY1649" fmla="*/ 572747 h 884702"/>
                <a:gd name="csX1650" fmla="*/ 789510 w 1006844"/>
                <a:gd name="csY1650" fmla="*/ 613674 h 884702"/>
                <a:gd name="csX1651" fmla="*/ 776719 w 1006844"/>
                <a:gd name="csY1651" fmla="*/ 626465 h 884702"/>
                <a:gd name="csX1652" fmla="*/ 789510 w 1006844"/>
                <a:gd name="csY1652" fmla="*/ 639256 h 884702"/>
                <a:gd name="csX1653" fmla="*/ 802302 w 1006844"/>
                <a:gd name="csY1653" fmla="*/ 626465 h 884702"/>
                <a:gd name="csX1654" fmla="*/ 789510 w 1006844"/>
                <a:gd name="csY1654" fmla="*/ 613674 h 884702"/>
                <a:gd name="csX1655" fmla="*/ 789510 w 1006844"/>
                <a:gd name="csY1655" fmla="*/ 654578 h 884702"/>
                <a:gd name="csX1656" fmla="*/ 776719 w 1006844"/>
                <a:gd name="csY1656" fmla="*/ 667369 h 884702"/>
                <a:gd name="csX1657" fmla="*/ 789510 w 1006844"/>
                <a:gd name="csY1657" fmla="*/ 680160 h 884702"/>
                <a:gd name="csX1658" fmla="*/ 802302 w 1006844"/>
                <a:gd name="csY1658" fmla="*/ 667369 h 884702"/>
                <a:gd name="csX1659" fmla="*/ 789510 w 1006844"/>
                <a:gd name="csY1659" fmla="*/ 654578 h 884702"/>
                <a:gd name="csX1660" fmla="*/ 789510 w 1006844"/>
                <a:gd name="csY1660" fmla="*/ 695482 h 884702"/>
                <a:gd name="csX1661" fmla="*/ 776719 w 1006844"/>
                <a:gd name="csY1661" fmla="*/ 708273 h 884702"/>
                <a:gd name="csX1662" fmla="*/ 789510 w 1006844"/>
                <a:gd name="csY1662" fmla="*/ 721064 h 884702"/>
                <a:gd name="csX1663" fmla="*/ 802302 w 1006844"/>
                <a:gd name="csY1663" fmla="*/ 708273 h 884702"/>
                <a:gd name="csX1664" fmla="*/ 789510 w 1006844"/>
                <a:gd name="csY1664" fmla="*/ 695482 h 884702"/>
                <a:gd name="csX1665" fmla="*/ 789510 w 1006844"/>
                <a:gd name="csY1665" fmla="*/ 736386 h 884702"/>
                <a:gd name="csX1666" fmla="*/ 776719 w 1006844"/>
                <a:gd name="csY1666" fmla="*/ 749177 h 884702"/>
                <a:gd name="csX1667" fmla="*/ 789510 w 1006844"/>
                <a:gd name="csY1667" fmla="*/ 761968 h 884702"/>
                <a:gd name="csX1668" fmla="*/ 802302 w 1006844"/>
                <a:gd name="csY1668" fmla="*/ 749177 h 884702"/>
                <a:gd name="csX1669" fmla="*/ 789510 w 1006844"/>
                <a:gd name="csY1669" fmla="*/ 736386 h 884702"/>
                <a:gd name="csX1670" fmla="*/ 789510 w 1006844"/>
                <a:gd name="csY1670" fmla="*/ 777313 h 884702"/>
                <a:gd name="csX1671" fmla="*/ 776719 w 1006844"/>
                <a:gd name="csY1671" fmla="*/ 790104 h 884702"/>
                <a:gd name="csX1672" fmla="*/ 789510 w 1006844"/>
                <a:gd name="csY1672" fmla="*/ 802895 h 884702"/>
                <a:gd name="csX1673" fmla="*/ 802302 w 1006844"/>
                <a:gd name="csY1673" fmla="*/ 790104 h 884702"/>
                <a:gd name="csX1674" fmla="*/ 789510 w 1006844"/>
                <a:gd name="csY1674" fmla="*/ 777313 h 884702"/>
                <a:gd name="csX1675" fmla="*/ 789510 w 1006844"/>
                <a:gd name="csY1675" fmla="*/ 818217 h 884702"/>
                <a:gd name="csX1676" fmla="*/ 776719 w 1006844"/>
                <a:gd name="csY1676" fmla="*/ 831008 h 884702"/>
                <a:gd name="csX1677" fmla="*/ 789510 w 1006844"/>
                <a:gd name="csY1677" fmla="*/ 843799 h 884702"/>
                <a:gd name="csX1678" fmla="*/ 802302 w 1006844"/>
                <a:gd name="csY1678" fmla="*/ 831008 h 884702"/>
                <a:gd name="csX1679" fmla="*/ 789510 w 1006844"/>
                <a:gd name="csY1679" fmla="*/ 818217 h 884702"/>
                <a:gd name="csX1680" fmla="*/ 789510 w 1006844"/>
                <a:gd name="csY1680" fmla="*/ 859121 h 884702"/>
                <a:gd name="csX1681" fmla="*/ 776719 w 1006844"/>
                <a:gd name="csY1681" fmla="*/ 871912 h 884702"/>
                <a:gd name="csX1682" fmla="*/ 789510 w 1006844"/>
                <a:gd name="csY1682" fmla="*/ 884703 h 884702"/>
                <a:gd name="csX1683" fmla="*/ 802302 w 1006844"/>
                <a:gd name="csY1683" fmla="*/ 871912 h 884702"/>
                <a:gd name="csX1684" fmla="*/ 789510 w 1006844"/>
                <a:gd name="csY1684" fmla="*/ 859121 h 884702"/>
                <a:gd name="csX1685" fmla="*/ 748584 w 1006844"/>
                <a:gd name="csY1685" fmla="*/ 81831 h 884702"/>
                <a:gd name="csX1686" fmla="*/ 735793 w 1006844"/>
                <a:gd name="csY1686" fmla="*/ 94622 h 884702"/>
                <a:gd name="csX1687" fmla="*/ 748584 w 1006844"/>
                <a:gd name="csY1687" fmla="*/ 107413 h 884702"/>
                <a:gd name="csX1688" fmla="*/ 761375 w 1006844"/>
                <a:gd name="csY1688" fmla="*/ 94622 h 884702"/>
                <a:gd name="csX1689" fmla="*/ 748584 w 1006844"/>
                <a:gd name="csY1689" fmla="*/ 81831 h 884702"/>
                <a:gd name="csX1690" fmla="*/ 748584 w 1006844"/>
                <a:gd name="csY1690" fmla="*/ 122735 h 884702"/>
                <a:gd name="csX1691" fmla="*/ 735793 w 1006844"/>
                <a:gd name="csY1691" fmla="*/ 135526 h 884702"/>
                <a:gd name="csX1692" fmla="*/ 748584 w 1006844"/>
                <a:gd name="csY1692" fmla="*/ 148317 h 884702"/>
                <a:gd name="csX1693" fmla="*/ 761375 w 1006844"/>
                <a:gd name="csY1693" fmla="*/ 135526 h 884702"/>
                <a:gd name="csX1694" fmla="*/ 748584 w 1006844"/>
                <a:gd name="csY1694" fmla="*/ 122735 h 884702"/>
                <a:gd name="csX1695" fmla="*/ 748584 w 1006844"/>
                <a:gd name="csY1695" fmla="*/ 163639 h 884702"/>
                <a:gd name="csX1696" fmla="*/ 735793 w 1006844"/>
                <a:gd name="csY1696" fmla="*/ 176430 h 884702"/>
                <a:gd name="csX1697" fmla="*/ 748584 w 1006844"/>
                <a:gd name="csY1697" fmla="*/ 189221 h 884702"/>
                <a:gd name="csX1698" fmla="*/ 761375 w 1006844"/>
                <a:gd name="csY1698" fmla="*/ 176430 h 884702"/>
                <a:gd name="csX1699" fmla="*/ 748584 w 1006844"/>
                <a:gd name="csY1699" fmla="*/ 163639 h 884702"/>
                <a:gd name="csX1700" fmla="*/ 748584 w 1006844"/>
                <a:gd name="csY1700" fmla="*/ 204543 h 884702"/>
                <a:gd name="csX1701" fmla="*/ 735793 w 1006844"/>
                <a:gd name="csY1701" fmla="*/ 217334 h 884702"/>
                <a:gd name="csX1702" fmla="*/ 748584 w 1006844"/>
                <a:gd name="csY1702" fmla="*/ 230125 h 884702"/>
                <a:gd name="csX1703" fmla="*/ 761375 w 1006844"/>
                <a:gd name="csY1703" fmla="*/ 217334 h 884702"/>
                <a:gd name="csX1704" fmla="*/ 748584 w 1006844"/>
                <a:gd name="csY1704" fmla="*/ 204543 h 884702"/>
                <a:gd name="csX1705" fmla="*/ 748584 w 1006844"/>
                <a:gd name="csY1705" fmla="*/ 245470 h 884702"/>
                <a:gd name="csX1706" fmla="*/ 735793 w 1006844"/>
                <a:gd name="csY1706" fmla="*/ 258261 h 884702"/>
                <a:gd name="csX1707" fmla="*/ 748584 w 1006844"/>
                <a:gd name="csY1707" fmla="*/ 271052 h 884702"/>
                <a:gd name="csX1708" fmla="*/ 761375 w 1006844"/>
                <a:gd name="csY1708" fmla="*/ 258261 h 884702"/>
                <a:gd name="csX1709" fmla="*/ 748584 w 1006844"/>
                <a:gd name="csY1709" fmla="*/ 245470 h 884702"/>
                <a:gd name="csX1710" fmla="*/ 748584 w 1006844"/>
                <a:gd name="csY1710" fmla="*/ 286374 h 884702"/>
                <a:gd name="csX1711" fmla="*/ 735793 w 1006844"/>
                <a:gd name="csY1711" fmla="*/ 299165 h 884702"/>
                <a:gd name="csX1712" fmla="*/ 748584 w 1006844"/>
                <a:gd name="csY1712" fmla="*/ 311956 h 884702"/>
                <a:gd name="csX1713" fmla="*/ 761375 w 1006844"/>
                <a:gd name="csY1713" fmla="*/ 299165 h 884702"/>
                <a:gd name="csX1714" fmla="*/ 748584 w 1006844"/>
                <a:gd name="csY1714" fmla="*/ 286374 h 884702"/>
                <a:gd name="csX1715" fmla="*/ 748584 w 1006844"/>
                <a:gd name="csY1715" fmla="*/ 327277 h 884702"/>
                <a:gd name="csX1716" fmla="*/ 735793 w 1006844"/>
                <a:gd name="csY1716" fmla="*/ 340069 h 884702"/>
                <a:gd name="csX1717" fmla="*/ 748584 w 1006844"/>
                <a:gd name="csY1717" fmla="*/ 352860 h 884702"/>
                <a:gd name="csX1718" fmla="*/ 761375 w 1006844"/>
                <a:gd name="csY1718" fmla="*/ 340069 h 884702"/>
                <a:gd name="csX1719" fmla="*/ 748584 w 1006844"/>
                <a:gd name="csY1719" fmla="*/ 327277 h 884702"/>
                <a:gd name="csX1720" fmla="*/ 748584 w 1006844"/>
                <a:gd name="csY1720" fmla="*/ 368204 h 884702"/>
                <a:gd name="csX1721" fmla="*/ 735793 w 1006844"/>
                <a:gd name="csY1721" fmla="*/ 380995 h 884702"/>
                <a:gd name="csX1722" fmla="*/ 748584 w 1006844"/>
                <a:gd name="csY1722" fmla="*/ 393786 h 884702"/>
                <a:gd name="csX1723" fmla="*/ 761375 w 1006844"/>
                <a:gd name="csY1723" fmla="*/ 380995 h 884702"/>
                <a:gd name="csX1724" fmla="*/ 748584 w 1006844"/>
                <a:gd name="csY1724" fmla="*/ 368204 h 884702"/>
                <a:gd name="csX1725" fmla="*/ 748584 w 1006844"/>
                <a:gd name="csY1725" fmla="*/ 409108 h 884702"/>
                <a:gd name="csX1726" fmla="*/ 735793 w 1006844"/>
                <a:gd name="csY1726" fmla="*/ 421899 h 884702"/>
                <a:gd name="csX1727" fmla="*/ 748584 w 1006844"/>
                <a:gd name="csY1727" fmla="*/ 434690 h 884702"/>
                <a:gd name="csX1728" fmla="*/ 761375 w 1006844"/>
                <a:gd name="csY1728" fmla="*/ 421899 h 884702"/>
                <a:gd name="csX1729" fmla="*/ 748584 w 1006844"/>
                <a:gd name="csY1729" fmla="*/ 409108 h 884702"/>
                <a:gd name="csX1730" fmla="*/ 748584 w 1006844"/>
                <a:gd name="csY1730" fmla="*/ 450012 h 884702"/>
                <a:gd name="csX1731" fmla="*/ 735793 w 1006844"/>
                <a:gd name="csY1731" fmla="*/ 462803 h 884702"/>
                <a:gd name="csX1732" fmla="*/ 748584 w 1006844"/>
                <a:gd name="csY1732" fmla="*/ 475594 h 884702"/>
                <a:gd name="csX1733" fmla="*/ 761375 w 1006844"/>
                <a:gd name="csY1733" fmla="*/ 462803 h 884702"/>
                <a:gd name="csX1734" fmla="*/ 748584 w 1006844"/>
                <a:gd name="csY1734" fmla="*/ 450012 h 884702"/>
                <a:gd name="csX1735" fmla="*/ 748584 w 1006844"/>
                <a:gd name="csY1735" fmla="*/ 490939 h 884702"/>
                <a:gd name="csX1736" fmla="*/ 735793 w 1006844"/>
                <a:gd name="csY1736" fmla="*/ 503730 h 884702"/>
                <a:gd name="csX1737" fmla="*/ 748584 w 1006844"/>
                <a:gd name="csY1737" fmla="*/ 516521 h 884702"/>
                <a:gd name="csX1738" fmla="*/ 761375 w 1006844"/>
                <a:gd name="csY1738" fmla="*/ 503730 h 884702"/>
                <a:gd name="csX1739" fmla="*/ 748584 w 1006844"/>
                <a:gd name="csY1739" fmla="*/ 490939 h 884702"/>
                <a:gd name="csX1740" fmla="*/ 748584 w 1006844"/>
                <a:gd name="csY1740" fmla="*/ 531843 h 884702"/>
                <a:gd name="csX1741" fmla="*/ 735793 w 1006844"/>
                <a:gd name="csY1741" fmla="*/ 544634 h 884702"/>
                <a:gd name="csX1742" fmla="*/ 748584 w 1006844"/>
                <a:gd name="csY1742" fmla="*/ 557425 h 884702"/>
                <a:gd name="csX1743" fmla="*/ 761375 w 1006844"/>
                <a:gd name="csY1743" fmla="*/ 544634 h 884702"/>
                <a:gd name="csX1744" fmla="*/ 748584 w 1006844"/>
                <a:gd name="csY1744" fmla="*/ 531843 h 884702"/>
                <a:gd name="csX1745" fmla="*/ 748584 w 1006844"/>
                <a:gd name="csY1745" fmla="*/ 572747 h 884702"/>
                <a:gd name="csX1746" fmla="*/ 735793 w 1006844"/>
                <a:gd name="csY1746" fmla="*/ 585538 h 884702"/>
                <a:gd name="csX1747" fmla="*/ 748584 w 1006844"/>
                <a:gd name="csY1747" fmla="*/ 598329 h 884702"/>
                <a:gd name="csX1748" fmla="*/ 761375 w 1006844"/>
                <a:gd name="csY1748" fmla="*/ 585538 h 884702"/>
                <a:gd name="csX1749" fmla="*/ 748584 w 1006844"/>
                <a:gd name="csY1749" fmla="*/ 572747 h 884702"/>
                <a:gd name="csX1750" fmla="*/ 748584 w 1006844"/>
                <a:gd name="csY1750" fmla="*/ 613674 h 884702"/>
                <a:gd name="csX1751" fmla="*/ 735793 w 1006844"/>
                <a:gd name="csY1751" fmla="*/ 626465 h 884702"/>
                <a:gd name="csX1752" fmla="*/ 748584 w 1006844"/>
                <a:gd name="csY1752" fmla="*/ 639256 h 884702"/>
                <a:gd name="csX1753" fmla="*/ 761375 w 1006844"/>
                <a:gd name="csY1753" fmla="*/ 626465 h 884702"/>
                <a:gd name="csX1754" fmla="*/ 748584 w 1006844"/>
                <a:gd name="csY1754" fmla="*/ 613674 h 884702"/>
                <a:gd name="csX1755" fmla="*/ 748584 w 1006844"/>
                <a:gd name="csY1755" fmla="*/ 654578 h 884702"/>
                <a:gd name="csX1756" fmla="*/ 735793 w 1006844"/>
                <a:gd name="csY1756" fmla="*/ 667369 h 884702"/>
                <a:gd name="csX1757" fmla="*/ 748584 w 1006844"/>
                <a:gd name="csY1757" fmla="*/ 680160 h 884702"/>
                <a:gd name="csX1758" fmla="*/ 761375 w 1006844"/>
                <a:gd name="csY1758" fmla="*/ 667369 h 884702"/>
                <a:gd name="csX1759" fmla="*/ 748584 w 1006844"/>
                <a:gd name="csY1759" fmla="*/ 654578 h 884702"/>
                <a:gd name="csX1760" fmla="*/ 748584 w 1006844"/>
                <a:gd name="csY1760" fmla="*/ 695482 h 884702"/>
                <a:gd name="csX1761" fmla="*/ 735793 w 1006844"/>
                <a:gd name="csY1761" fmla="*/ 708273 h 884702"/>
                <a:gd name="csX1762" fmla="*/ 748584 w 1006844"/>
                <a:gd name="csY1762" fmla="*/ 721064 h 884702"/>
                <a:gd name="csX1763" fmla="*/ 761375 w 1006844"/>
                <a:gd name="csY1763" fmla="*/ 708273 h 884702"/>
                <a:gd name="csX1764" fmla="*/ 748584 w 1006844"/>
                <a:gd name="csY1764" fmla="*/ 695482 h 884702"/>
                <a:gd name="csX1765" fmla="*/ 748584 w 1006844"/>
                <a:gd name="csY1765" fmla="*/ 736386 h 884702"/>
                <a:gd name="csX1766" fmla="*/ 735793 w 1006844"/>
                <a:gd name="csY1766" fmla="*/ 749177 h 884702"/>
                <a:gd name="csX1767" fmla="*/ 748584 w 1006844"/>
                <a:gd name="csY1767" fmla="*/ 761968 h 884702"/>
                <a:gd name="csX1768" fmla="*/ 761375 w 1006844"/>
                <a:gd name="csY1768" fmla="*/ 749177 h 884702"/>
                <a:gd name="csX1769" fmla="*/ 748584 w 1006844"/>
                <a:gd name="csY1769" fmla="*/ 736386 h 884702"/>
                <a:gd name="csX1770" fmla="*/ 748584 w 1006844"/>
                <a:gd name="csY1770" fmla="*/ 777313 h 884702"/>
                <a:gd name="csX1771" fmla="*/ 735793 w 1006844"/>
                <a:gd name="csY1771" fmla="*/ 790104 h 884702"/>
                <a:gd name="csX1772" fmla="*/ 748584 w 1006844"/>
                <a:gd name="csY1772" fmla="*/ 802895 h 884702"/>
                <a:gd name="csX1773" fmla="*/ 761375 w 1006844"/>
                <a:gd name="csY1773" fmla="*/ 790104 h 884702"/>
                <a:gd name="csX1774" fmla="*/ 748584 w 1006844"/>
                <a:gd name="csY1774" fmla="*/ 777313 h 884702"/>
                <a:gd name="csX1775" fmla="*/ 748584 w 1006844"/>
                <a:gd name="csY1775" fmla="*/ 818217 h 884702"/>
                <a:gd name="csX1776" fmla="*/ 735793 w 1006844"/>
                <a:gd name="csY1776" fmla="*/ 831008 h 884702"/>
                <a:gd name="csX1777" fmla="*/ 748584 w 1006844"/>
                <a:gd name="csY1777" fmla="*/ 843799 h 884702"/>
                <a:gd name="csX1778" fmla="*/ 761375 w 1006844"/>
                <a:gd name="csY1778" fmla="*/ 831008 h 884702"/>
                <a:gd name="csX1779" fmla="*/ 748584 w 1006844"/>
                <a:gd name="csY1779" fmla="*/ 818217 h 884702"/>
                <a:gd name="csX1780" fmla="*/ 748584 w 1006844"/>
                <a:gd name="csY1780" fmla="*/ 859121 h 884702"/>
                <a:gd name="csX1781" fmla="*/ 735793 w 1006844"/>
                <a:gd name="csY1781" fmla="*/ 871912 h 884702"/>
                <a:gd name="csX1782" fmla="*/ 748584 w 1006844"/>
                <a:gd name="csY1782" fmla="*/ 884703 h 884702"/>
                <a:gd name="csX1783" fmla="*/ 761375 w 1006844"/>
                <a:gd name="csY1783" fmla="*/ 871912 h 884702"/>
                <a:gd name="csX1784" fmla="*/ 748584 w 1006844"/>
                <a:gd name="csY1784" fmla="*/ 859121 h 884702"/>
                <a:gd name="csX1785" fmla="*/ 707680 w 1006844"/>
                <a:gd name="csY1785" fmla="*/ 122735 h 884702"/>
                <a:gd name="csX1786" fmla="*/ 694889 w 1006844"/>
                <a:gd name="csY1786" fmla="*/ 135526 h 884702"/>
                <a:gd name="csX1787" fmla="*/ 707680 w 1006844"/>
                <a:gd name="csY1787" fmla="*/ 148317 h 884702"/>
                <a:gd name="csX1788" fmla="*/ 720471 w 1006844"/>
                <a:gd name="csY1788" fmla="*/ 135526 h 884702"/>
                <a:gd name="csX1789" fmla="*/ 707680 w 1006844"/>
                <a:gd name="csY1789" fmla="*/ 122735 h 884702"/>
                <a:gd name="csX1790" fmla="*/ 707680 w 1006844"/>
                <a:gd name="csY1790" fmla="*/ 163639 h 884702"/>
                <a:gd name="csX1791" fmla="*/ 694889 w 1006844"/>
                <a:gd name="csY1791" fmla="*/ 176430 h 884702"/>
                <a:gd name="csX1792" fmla="*/ 707680 w 1006844"/>
                <a:gd name="csY1792" fmla="*/ 189221 h 884702"/>
                <a:gd name="csX1793" fmla="*/ 720471 w 1006844"/>
                <a:gd name="csY1793" fmla="*/ 176430 h 884702"/>
                <a:gd name="csX1794" fmla="*/ 707680 w 1006844"/>
                <a:gd name="csY1794" fmla="*/ 163639 h 884702"/>
                <a:gd name="csX1795" fmla="*/ 707680 w 1006844"/>
                <a:gd name="csY1795" fmla="*/ 204543 h 884702"/>
                <a:gd name="csX1796" fmla="*/ 694889 w 1006844"/>
                <a:gd name="csY1796" fmla="*/ 217334 h 884702"/>
                <a:gd name="csX1797" fmla="*/ 707680 w 1006844"/>
                <a:gd name="csY1797" fmla="*/ 230125 h 884702"/>
                <a:gd name="csX1798" fmla="*/ 720471 w 1006844"/>
                <a:gd name="csY1798" fmla="*/ 217334 h 884702"/>
                <a:gd name="csX1799" fmla="*/ 707680 w 1006844"/>
                <a:gd name="csY1799" fmla="*/ 204543 h 884702"/>
                <a:gd name="csX1800" fmla="*/ 707680 w 1006844"/>
                <a:gd name="csY1800" fmla="*/ 245470 h 884702"/>
                <a:gd name="csX1801" fmla="*/ 694889 w 1006844"/>
                <a:gd name="csY1801" fmla="*/ 258261 h 884702"/>
                <a:gd name="csX1802" fmla="*/ 707680 w 1006844"/>
                <a:gd name="csY1802" fmla="*/ 271052 h 884702"/>
                <a:gd name="csX1803" fmla="*/ 720471 w 1006844"/>
                <a:gd name="csY1803" fmla="*/ 258261 h 884702"/>
                <a:gd name="csX1804" fmla="*/ 707680 w 1006844"/>
                <a:gd name="csY1804" fmla="*/ 245470 h 884702"/>
                <a:gd name="csX1805" fmla="*/ 707680 w 1006844"/>
                <a:gd name="csY1805" fmla="*/ 286374 h 884702"/>
                <a:gd name="csX1806" fmla="*/ 694889 w 1006844"/>
                <a:gd name="csY1806" fmla="*/ 299165 h 884702"/>
                <a:gd name="csX1807" fmla="*/ 707680 w 1006844"/>
                <a:gd name="csY1807" fmla="*/ 311956 h 884702"/>
                <a:gd name="csX1808" fmla="*/ 720471 w 1006844"/>
                <a:gd name="csY1808" fmla="*/ 299165 h 884702"/>
                <a:gd name="csX1809" fmla="*/ 707680 w 1006844"/>
                <a:gd name="csY1809" fmla="*/ 286374 h 884702"/>
                <a:gd name="csX1810" fmla="*/ 707680 w 1006844"/>
                <a:gd name="csY1810" fmla="*/ 327277 h 884702"/>
                <a:gd name="csX1811" fmla="*/ 694889 w 1006844"/>
                <a:gd name="csY1811" fmla="*/ 340069 h 884702"/>
                <a:gd name="csX1812" fmla="*/ 707680 w 1006844"/>
                <a:gd name="csY1812" fmla="*/ 352860 h 884702"/>
                <a:gd name="csX1813" fmla="*/ 720471 w 1006844"/>
                <a:gd name="csY1813" fmla="*/ 340069 h 884702"/>
                <a:gd name="csX1814" fmla="*/ 707680 w 1006844"/>
                <a:gd name="csY1814" fmla="*/ 327277 h 884702"/>
                <a:gd name="csX1815" fmla="*/ 707680 w 1006844"/>
                <a:gd name="csY1815" fmla="*/ 368204 h 884702"/>
                <a:gd name="csX1816" fmla="*/ 694889 w 1006844"/>
                <a:gd name="csY1816" fmla="*/ 380995 h 884702"/>
                <a:gd name="csX1817" fmla="*/ 707680 w 1006844"/>
                <a:gd name="csY1817" fmla="*/ 393786 h 884702"/>
                <a:gd name="csX1818" fmla="*/ 720471 w 1006844"/>
                <a:gd name="csY1818" fmla="*/ 380995 h 884702"/>
                <a:gd name="csX1819" fmla="*/ 707680 w 1006844"/>
                <a:gd name="csY1819" fmla="*/ 368204 h 884702"/>
                <a:gd name="csX1820" fmla="*/ 707680 w 1006844"/>
                <a:gd name="csY1820" fmla="*/ 409108 h 884702"/>
                <a:gd name="csX1821" fmla="*/ 694889 w 1006844"/>
                <a:gd name="csY1821" fmla="*/ 421899 h 884702"/>
                <a:gd name="csX1822" fmla="*/ 707680 w 1006844"/>
                <a:gd name="csY1822" fmla="*/ 434690 h 884702"/>
                <a:gd name="csX1823" fmla="*/ 720471 w 1006844"/>
                <a:gd name="csY1823" fmla="*/ 421899 h 884702"/>
                <a:gd name="csX1824" fmla="*/ 707680 w 1006844"/>
                <a:gd name="csY1824" fmla="*/ 409108 h 884702"/>
                <a:gd name="csX1825" fmla="*/ 707680 w 1006844"/>
                <a:gd name="csY1825" fmla="*/ 450012 h 884702"/>
                <a:gd name="csX1826" fmla="*/ 694889 w 1006844"/>
                <a:gd name="csY1826" fmla="*/ 462803 h 884702"/>
                <a:gd name="csX1827" fmla="*/ 707680 w 1006844"/>
                <a:gd name="csY1827" fmla="*/ 475594 h 884702"/>
                <a:gd name="csX1828" fmla="*/ 720471 w 1006844"/>
                <a:gd name="csY1828" fmla="*/ 462803 h 884702"/>
                <a:gd name="csX1829" fmla="*/ 707680 w 1006844"/>
                <a:gd name="csY1829" fmla="*/ 450012 h 884702"/>
                <a:gd name="csX1830" fmla="*/ 707680 w 1006844"/>
                <a:gd name="csY1830" fmla="*/ 490939 h 884702"/>
                <a:gd name="csX1831" fmla="*/ 694889 w 1006844"/>
                <a:gd name="csY1831" fmla="*/ 503730 h 884702"/>
                <a:gd name="csX1832" fmla="*/ 707680 w 1006844"/>
                <a:gd name="csY1832" fmla="*/ 516521 h 884702"/>
                <a:gd name="csX1833" fmla="*/ 720471 w 1006844"/>
                <a:gd name="csY1833" fmla="*/ 503730 h 884702"/>
                <a:gd name="csX1834" fmla="*/ 707680 w 1006844"/>
                <a:gd name="csY1834" fmla="*/ 490939 h 884702"/>
                <a:gd name="csX1835" fmla="*/ 707680 w 1006844"/>
                <a:gd name="csY1835" fmla="*/ 531843 h 884702"/>
                <a:gd name="csX1836" fmla="*/ 694889 w 1006844"/>
                <a:gd name="csY1836" fmla="*/ 544634 h 884702"/>
                <a:gd name="csX1837" fmla="*/ 707680 w 1006844"/>
                <a:gd name="csY1837" fmla="*/ 557425 h 884702"/>
                <a:gd name="csX1838" fmla="*/ 720471 w 1006844"/>
                <a:gd name="csY1838" fmla="*/ 544634 h 884702"/>
                <a:gd name="csX1839" fmla="*/ 707680 w 1006844"/>
                <a:gd name="csY1839" fmla="*/ 531843 h 884702"/>
                <a:gd name="csX1840" fmla="*/ 707680 w 1006844"/>
                <a:gd name="csY1840" fmla="*/ 572747 h 884702"/>
                <a:gd name="csX1841" fmla="*/ 694889 w 1006844"/>
                <a:gd name="csY1841" fmla="*/ 585538 h 884702"/>
                <a:gd name="csX1842" fmla="*/ 707680 w 1006844"/>
                <a:gd name="csY1842" fmla="*/ 598329 h 884702"/>
                <a:gd name="csX1843" fmla="*/ 720471 w 1006844"/>
                <a:gd name="csY1843" fmla="*/ 585538 h 884702"/>
                <a:gd name="csX1844" fmla="*/ 707680 w 1006844"/>
                <a:gd name="csY1844" fmla="*/ 572747 h 884702"/>
                <a:gd name="csX1845" fmla="*/ 707680 w 1006844"/>
                <a:gd name="csY1845" fmla="*/ 613674 h 884702"/>
                <a:gd name="csX1846" fmla="*/ 694889 w 1006844"/>
                <a:gd name="csY1846" fmla="*/ 626465 h 884702"/>
                <a:gd name="csX1847" fmla="*/ 707680 w 1006844"/>
                <a:gd name="csY1847" fmla="*/ 639256 h 884702"/>
                <a:gd name="csX1848" fmla="*/ 720471 w 1006844"/>
                <a:gd name="csY1848" fmla="*/ 626465 h 884702"/>
                <a:gd name="csX1849" fmla="*/ 707680 w 1006844"/>
                <a:gd name="csY1849" fmla="*/ 613674 h 884702"/>
                <a:gd name="csX1850" fmla="*/ 707680 w 1006844"/>
                <a:gd name="csY1850" fmla="*/ 654578 h 884702"/>
                <a:gd name="csX1851" fmla="*/ 694889 w 1006844"/>
                <a:gd name="csY1851" fmla="*/ 667369 h 884702"/>
                <a:gd name="csX1852" fmla="*/ 707680 w 1006844"/>
                <a:gd name="csY1852" fmla="*/ 680160 h 884702"/>
                <a:gd name="csX1853" fmla="*/ 720471 w 1006844"/>
                <a:gd name="csY1853" fmla="*/ 667369 h 884702"/>
                <a:gd name="csX1854" fmla="*/ 707680 w 1006844"/>
                <a:gd name="csY1854" fmla="*/ 654578 h 884702"/>
                <a:gd name="csX1855" fmla="*/ 707680 w 1006844"/>
                <a:gd name="csY1855" fmla="*/ 695482 h 884702"/>
                <a:gd name="csX1856" fmla="*/ 694889 w 1006844"/>
                <a:gd name="csY1856" fmla="*/ 708273 h 884702"/>
                <a:gd name="csX1857" fmla="*/ 707680 w 1006844"/>
                <a:gd name="csY1857" fmla="*/ 721064 h 884702"/>
                <a:gd name="csX1858" fmla="*/ 720471 w 1006844"/>
                <a:gd name="csY1858" fmla="*/ 708273 h 884702"/>
                <a:gd name="csX1859" fmla="*/ 707680 w 1006844"/>
                <a:gd name="csY1859" fmla="*/ 695482 h 884702"/>
                <a:gd name="csX1860" fmla="*/ 707680 w 1006844"/>
                <a:gd name="csY1860" fmla="*/ 736386 h 884702"/>
                <a:gd name="csX1861" fmla="*/ 694889 w 1006844"/>
                <a:gd name="csY1861" fmla="*/ 749177 h 884702"/>
                <a:gd name="csX1862" fmla="*/ 707680 w 1006844"/>
                <a:gd name="csY1862" fmla="*/ 761968 h 884702"/>
                <a:gd name="csX1863" fmla="*/ 720471 w 1006844"/>
                <a:gd name="csY1863" fmla="*/ 749177 h 884702"/>
                <a:gd name="csX1864" fmla="*/ 707680 w 1006844"/>
                <a:gd name="csY1864" fmla="*/ 736386 h 884702"/>
                <a:gd name="csX1865" fmla="*/ 707680 w 1006844"/>
                <a:gd name="csY1865" fmla="*/ 777313 h 884702"/>
                <a:gd name="csX1866" fmla="*/ 694889 w 1006844"/>
                <a:gd name="csY1866" fmla="*/ 790104 h 884702"/>
                <a:gd name="csX1867" fmla="*/ 707680 w 1006844"/>
                <a:gd name="csY1867" fmla="*/ 802895 h 884702"/>
                <a:gd name="csX1868" fmla="*/ 720471 w 1006844"/>
                <a:gd name="csY1868" fmla="*/ 790104 h 884702"/>
                <a:gd name="csX1869" fmla="*/ 707680 w 1006844"/>
                <a:gd name="csY1869" fmla="*/ 777313 h 884702"/>
                <a:gd name="csX1870" fmla="*/ 707680 w 1006844"/>
                <a:gd name="csY1870" fmla="*/ 818217 h 884702"/>
                <a:gd name="csX1871" fmla="*/ 694889 w 1006844"/>
                <a:gd name="csY1871" fmla="*/ 831008 h 884702"/>
                <a:gd name="csX1872" fmla="*/ 707680 w 1006844"/>
                <a:gd name="csY1872" fmla="*/ 843799 h 884702"/>
                <a:gd name="csX1873" fmla="*/ 720471 w 1006844"/>
                <a:gd name="csY1873" fmla="*/ 831008 h 884702"/>
                <a:gd name="csX1874" fmla="*/ 707680 w 1006844"/>
                <a:gd name="csY1874" fmla="*/ 818217 h 884702"/>
                <a:gd name="csX1875" fmla="*/ 707680 w 1006844"/>
                <a:gd name="csY1875" fmla="*/ 859121 h 884702"/>
                <a:gd name="csX1876" fmla="*/ 694889 w 1006844"/>
                <a:gd name="csY1876" fmla="*/ 871912 h 884702"/>
                <a:gd name="csX1877" fmla="*/ 707680 w 1006844"/>
                <a:gd name="csY1877" fmla="*/ 884703 h 884702"/>
                <a:gd name="csX1878" fmla="*/ 720471 w 1006844"/>
                <a:gd name="csY1878" fmla="*/ 871912 h 884702"/>
                <a:gd name="csX1879" fmla="*/ 707680 w 1006844"/>
                <a:gd name="csY1879" fmla="*/ 859121 h 884702"/>
                <a:gd name="csX1880" fmla="*/ 666776 w 1006844"/>
                <a:gd name="csY1880" fmla="*/ 163639 h 884702"/>
                <a:gd name="csX1881" fmla="*/ 653985 w 1006844"/>
                <a:gd name="csY1881" fmla="*/ 176430 h 884702"/>
                <a:gd name="csX1882" fmla="*/ 666776 w 1006844"/>
                <a:gd name="csY1882" fmla="*/ 189221 h 884702"/>
                <a:gd name="csX1883" fmla="*/ 679567 w 1006844"/>
                <a:gd name="csY1883" fmla="*/ 176430 h 884702"/>
                <a:gd name="csX1884" fmla="*/ 666776 w 1006844"/>
                <a:gd name="csY1884" fmla="*/ 163639 h 884702"/>
                <a:gd name="csX1885" fmla="*/ 666776 w 1006844"/>
                <a:gd name="csY1885" fmla="*/ 204543 h 884702"/>
                <a:gd name="csX1886" fmla="*/ 653985 w 1006844"/>
                <a:gd name="csY1886" fmla="*/ 217334 h 884702"/>
                <a:gd name="csX1887" fmla="*/ 666776 w 1006844"/>
                <a:gd name="csY1887" fmla="*/ 230125 h 884702"/>
                <a:gd name="csX1888" fmla="*/ 679567 w 1006844"/>
                <a:gd name="csY1888" fmla="*/ 217334 h 884702"/>
                <a:gd name="csX1889" fmla="*/ 666776 w 1006844"/>
                <a:gd name="csY1889" fmla="*/ 204543 h 884702"/>
                <a:gd name="csX1890" fmla="*/ 666776 w 1006844"/>
                <a:gd name="csY1890" fmla="*/ 245470 h 884702"/>
                <a:gd name="csX1891" fmla="*/ 653985 w 1006844"/>
                <a:gd name="csY1891" fmla="*/ 258261 h 884702"/>
                <a:gd name="csX1892" fmla="*/ 666776 w 1006844"/>
                <a:gd name="csY1892" fmla="*/ 271052 h 884702"/>
                <a:gd name="csX1893" fmla="*/ 679567 w 1006844"/>
                <a:gd name="csY1893" fmla="*/ 258261 h 884702"/>
                <a:gd name="csX1894" fmla="*/ 666776 w 1006844"/>
                <a:gd name="csY1894" fmla="*/ 245470 h 884702"/>
                <a:gd name="csX1895" fmla="*/ 666776 w 1006844"/>
                <a:gd name="csY1895" fmla="*/ 286374 h 884702"/>
                <a:gd name="csX1896" fmla="*/ 653985 w 1006844"/>
                <a:gd name="csY1896" fmla="*/ 299165 h 884702"/>
                <a:gd name="csX1897" fmla="*/ 666776 w 1006844"/>
                <a:gd name="csY1897" fmla="*/ 311956 h 884702"/>
                <a:gd name="csX1898" fmla="*/ 679567 w 1006844"/>
                <a:gd name="csY1898" fmla="*/ 299165 h 884702"/>
                <a:gd name="csX1899" fmla="*/ 666776 w 1006844"/>
                <a:gd name="csY1899" fmla="*/ 286374 h 884702"/>
                <a:gd name="csX1900" fmla="*/ 666776 w 1006844"/>
                <a:gd name="csY1900" fmla="*/ 327277 h 884702"/>
                <a:gd name="csX1901" fmla="*/ 653985 w 1006844"/>
                <a:gd name="csY1901" fmla="*/ 340069 h 884702"/>
                <a:gd name="csX1902" fmla="*/ 666776 w 1006844"/>
                <a:gd name="csY1902" fmla="*/ 352860 h 884702"/>
                <a:gd name="csX1903" fmla="*/ 679567 w 1006844"/>
                <a:gd name="csY1903" fmla="*/ 340069 h 884702"/>
                <a:gd name="csX1904" fmla="*/ 666776 w 1006844"/>
                <a:gd name="csY1904" fmla="*/ 327277 h 884702"/>
                <a:gd name="csX1905" fmla="*/ 666776 w 1006844"/>
                <a:gd name="csY1905" fmla="*/ 368204 h 884702"/>
                <a:gd name="csX1906" fmla="*/ 653985 w 1006844"/>
                <a:gd name="csY1906" fmla="*/ 380995 h 884702"/>
                <a:gd name="csX1907" fmla="*/ 666776 w 1006844"/>
                <a:gd name="csY1907" fmla="*/ 393786 h 884702"/>
                <a:gd name="csX1908" fmla="*/ 679567 w 1006844"/>
                <a:gd name="csY1908" fmla="*/ 380995 h 884702"/>
                <a:gd name="csX1909" fmla="*/ 666776 w 1006844"/>
                <a:gd name="csY1909" fmla="*/ 368204 h 884702"/>
                <a:gd name="csX1910" fmla="*/ 666776 w 1006844"/>
                <a:gd name="csY1910" fmla="*/ 409108 h 884702"/>
                <a:gd name="csX1911" fmla="*/ 653985 w 1006844"/>
                <a:gd name="csY1911" fmla="*/ 421899 h 884702"/>
                <a:gd name="csX1912" fmla="*/ 666776 w 1006844"/>
                <a:gd name="csY1912" fmla="*/ 434690 h 884702"/>
                <a:gd name="csX1913" fmla="*/ 679567 w 1006844"/>
                <a:gd name="csY1913" fmla="*/ 421899 h 884702"/>
                <a:gd name="csX1914" fmla="*/ 666776 w 1006844"/>
                <a:gd name="csY1914" fmla="*/ 409108 h 884702"/>
                <a:gd name="csX1915" fmla="*/ 666776 w 1006844"/>
                <a:gd name="csY1915" fmla="*/ 450012 h 884702"/>
                <a:gd name="csX1916" fmla="*/ 653985 w 1006844"/>
                <a:gd name="csY1916" fmla="*/ 462803 h 884702"/>
                <a:gd name="csX1917" fmla="*/ 666776 w 1006844"/>
                <a:gd name="csY1917" fmla="*/ 475594 h 884702"/>
                <a:gd name="csX1918" fmla="*/ 679567 w 1006844"/>
                <a:gd name="csY1918" fmla="*/ 462803 h 884702"/>
                <a:gd name="csX1919" fmla="*/ 666776 w 1006844"/>
                <a:gd name="csY1919" fmla="*/ 450012 h 884702"/>
                <a:gd name="csX1920" fmla="*/ 666776 w 1006844"/>
                <a:gd name="csY1920" fmla="*/ 490939 h 884702"/>
                <a:gd name="csX1921" fmla="*/ 653985 w 1006844"/>
                <a:gd name="csY1921" fmla="*/ 503730 h 884702"/>
                <a:gd name="csX1922" fmla="*/ 666776 w 1006844"/>
                <a:gd name="csY1922" fmla="*/ 516521 h 884702"/>
                <a:gd name="csX1923" fmla="*/ 679567 w 1006844"/>
                <a:gd name="csY1923" fmla="*/ 503730 h 884702"/>
                <a:gd name="csX1924" fmla="*/ 666776 w 1006844"/>
                <a:gd name="csY1924" fmla="*/ 490939 h 884702"/>
                <a:gd name="csX1925" fmla="*/ 666776 w 1006844"/>
                <a:gd name="csY1925" fmla="*/ 531843 h 884702"/>
                <a:gd name="csX1926" fmla="*/ 653985 w 1006844"/>
                <a:gd name="csY1926" fmla="*/ 544634 h 884702"/>
                <a:gd name="csX1927" fmla="*/ 666776 w 1006844"/>
                <a:gd name="csY1927" fmla="*/ 557425 h 884702"/>
                <a:gd name="csX1928" fmla="*/ 679567 w 1006844"/>
                <a:gd name="csY1928" fmla="*/ 544634 h 884702"/>
                <a:gd name="csX1929" fmla="*/ 666776 w 1006844"/>
                <a:gd name="csY1929" fmla="*/ 531843 h 884702"/>
                <a:gd name="csX1930" fmla="*/ 666776 w 1006844"/>
                <a:gd name="csY1930" fmla="*/ 572747 h 884702"/>
                <a:gd name="csX1931" fmla="*/ 653985 w 1006844"/>
                <a:gd name="csY1931" fmla="*/ 585538 h 884702"/>
                <a:gd name="csX1932" fmla="*/ 666776 w 1006844"/>
                <a:gd name="csY1932" fmla="*/ 598329 h 884702"/>
                <a:gd name="csX1933" fmla="*/ 679567 w 1006844"/>
                <a:gd name="csY1933" fmla="*/ 585538 h 884702"/>
                <a:gd name="csX1934" fmla="*/ 666776 w 1006844"/>
                <a:gd name="csY1934" fmla="*/ 572747 h 884702"/>
                <a:gd name="csX1935" fmla="*/ 666776 w 1006844"/>
                <a:gd name="csY1935" fmla="*/ 613674 h 884702"/>
                <a:gd name="csX1936" fmla="*/ 653985 w 1006844"/>
                <a:gd name="csY1936" fmla="*/ 626465 h 884702"/>
                <a:gd name="csX1937" fmla="*/ 666776 w 1006844"/>
                <a:gd name="csY1937" fmla="*/ 639256 h 884702"/>
                <a:gd name="csX1938" fmla="*/ 679567 w 1006844"/>
                <a:gd name="csY1938" fmla="*/ 626465 h 884702"/>
                <a:gd name="csX1939" fmla="*/ 666776 w 1006844"/>
                <a:gd name="csY1939" fmla="*/ 613674 h 884702"/>
                <a:gd name="csX1940" fmla="*/ 666776 w 1006844"/>
                <a:gd name="csY1940" fmla="*/ 654578 h 884702"/>
                <a:gd name="csX1941" fmla="*/ 653985 w 1006844"/>
                <a:gd name="csY1941" fmla="*/ 667369 h 884702"/>
                <a:gd name="csX1942" fmla="*/ 666776 w 1006844"/>
                <a:gd name="csY1942" fmla="*/ 680160 h 884702"/>
                <a:gd name="csX1943" fmla="*/ 679567 w 1006844"/>
                <a:gd name="csY1943" fmla="*/ 667369 h 884702"/>
                <a:gd name="csX1944" fmla="*/ 666776 w 1006844"/>
                <a:gd name="csY1944" fmla="*/ 654578 h 884702"/>
                <a:gd name="csX1945" fmla="*/ 666776 w 1006844"/>
                <a:gd name="csY1945" fmla="*/ 695482 h 884702"/>
                <a:gd name="csX1946" fmla="*/ 653985 w 1006844"/>
                <a:gd name="csY1946" fmla="*/ 708273 h 884702"/>
                <a:gd name="csX1947" fmla="*/ 666776 w 1006844"/>
                <a:gd name="csY1947" fmla="*/ 721064 h 884702"/>
                <a:gd name="csX1948" fmla="*/ 679567 w 1006844"/>
                <a:gd name="csY1948" fmla="*/ 708273 h 884702"/>
                <a:gd name="csX1949" fmla="*/ 666776 w 1006844"/>
                <a:gd name="csY1949" fmla="*/ 695482 h 884702"/>
                <a:gd name="csX1950" fmla="*/ 666776 w 1006844"/>
                <a:gd name="csY1950" fmla="*/ 736386 h 884702"/>
                <a:gd name="csX1951" fmla="*/ 653985 w 1006844"/>
                <a:gd name="csY1951" fmla="*/ 749177 h 884702"/>
                <a:gd name="csX1952" fmla="*/ 666776 w 1006844"/>
                <a:gd name="csY1952" fmla="*/ 761968 h 884702"/>
                <a:gd name="csX1953" fmla="*/ 679567 w 1006844"/>
                <a:gd name="csY1953" fmla="*/ 749177 h 884702"/>
                <a:gd name="csX1954" fmla="*/ 666776 w 1006844"/>
                <a:gd name="csY1954" fmla="*/ 736386 h 884702"/>
                <a:gd name="csX1955" fmla="*/ 666776 w 1006844"/>
                <a:gd name="csY1955" fmla="*/ 777313 h 884702"/>
                <a:gd name="csX1956" fmla="*/ 653985 w 1006844"/>
                <a:gd name="csY1956" fmla="*/ 790104 h 884702"/>
                <a:gd name="csX1957" fmla="*/ 666776 w 1006844"/>
                <a:gd name="csY1957" fmla="*/ 802895 h 884702"/>
                <a:gd name="csX1958" fmla="*/ 679567 w 1006844"/>
                <a:gd name="csY1958" fmla="*/ 790104 h 884702"/>
                <a:gd name="csX1959" fmla="*/ 666776 w 1006844"/>
                <a:gd name="csY1959" fmla="*/ 777313 h 884702"/>
                <a:gd name="csX1960" fmla="*/ 666776 w 1006844"/>
                <a:gd name="csY1960" fmla="*/ 818217 h 884702"/>
                <a:gd name="csX1961" fmla="*/ 653985 w 1006844"/>
                <a:gd name="csY1961" fmla="*/ 831008 h 884702"/>
                <a:gd name="csX1962" fmla="*/ 666776 w 1006844"/>
                <a:gd name="csY1962" fmla="*/ 843799 h 884702"/>
                <a:gd name="csX1963" fmla="*/ 679567 w 1006844"/>
                <a:gd name="csY1963" fmla="*/ 831008 h 884702"/>
                <a:gd name="csX1964" fmla="*/ 666776 w 1006844"/>
                <a:gd name="csY1964" fmla="*/ 818217 h 884702"/>
                <a:gd name="csX1965" fmla="*/ 666776 w 1006844"/>
                <a:gd name="csY1965" fmla="*/ 859121 h 884702"/>
                <a:gd name="csX1966" fmla="*/ 653985 w 1006844"/>
                <a:gd name="csY1966" fmla="*/ 871912 h 884702"/>
                <a:gd name="csX1967" fmla="*/ 666776 w 1006844"/>
                <a:gd name="csY1967" fmla="*/ 884703 h 884702"/>
                <a:gd name="csX1968" fmla="*/ 679567 w 1006844"/>
                <a:gd name="csY1968" fmla="*/ 871912 h 884702"/>
                <a:gd name="csX1969" fmla="*/ 666776 w 1006844"/>
                <a:gd name="csY1969" fmla="*/ 859121 h 884702"/>
                <a:gd name="csX1970" fmla="*/ 625849 w 1006844"/>
                <a:gd name="csY1970" fmla="*/ 204543 h 884702"/>
                <a:gd name="csX1971" fmla="*/ 613058 w 1006844"/>
                <a:gd name="csY1971" fmla="*/ 217334 h 884702"/>
                <a:gd name="csX1972" fmla="*/ 625849 w 1006844"/>
                <a:gd name="csY1972" fmla="*/ 230125 h 884702"/>
                <a:gd name="csX1973" fmla="*/ 638640 w 1006844"/>
                <a:gd name="csY1973" fmla="*/ 217334 h 884702"/>
                <a:gd name="csX1974" fmla="*/ 625849 w 1006844"/>
                <a:gd name="csY1974" fmla="*/ 204543 h 884702"/>
                <a:gd name="csX1975" fmla="*/ 625849 w 1006844"/>
                <a:gd name="csY1975" fmla="*/ 245470 h 884702"/>
                <a:gd name="csX1976" fmla="*/ 613058 w 1006844"/>
                <a:gd name="csY1976" fmla="*/ 258261 h 884702"/>
                <a:gd name="csX1977" fmla="*/ 625849 w 1006844"/>
                <a:gd name="csY1977" fmla="*/ 271052 h 884702"/>
                <a:gd name="csX1978" fmla="*/ 638640 w 1006844"/>
                <a:gd name="csY1978" fmla="*/ 258261 h 884702"/>
                <a:gd name="csX1979" fmla="*/ 625849 w 1006844"/>
                <a:gd name="csY1979" fmla="*/ 245470 h 884702"/>
                <a:gd name="csX1980" fmla="*/ 625849 w 1006844"/>
                <a:gd name="csY1980" fmla="*/ 286374 h 884702"/>
                <a:gd name="csX1981" fmla="*/ 613058 w 1006844"/>
                <a:gd name="csY1981" fmla="*/ 299165 h 884702"/>
                <a:gd name="csX1982" fmla="*/ 625849 w 1006844"/>
                <a:gd name="csY1982" fmla="*/ 311956 h 884702"/>
                <a:gd name="csX1983" fmla="*/ 638640 w 1006844"/>
                <a:gd name="csY1983" fmla="*/ 299165 h 884702"/>
                <a:gd name="csX1984" fmla="*/ 625849 w 1006844"/>
                <a:gd name="csY1984" fmla="*/ 286374 h 884702"/>
                <a:gd name="csX1985" fmla="*/ 625849 w 1006844"/>
                <a:gd name="csY1985" fmla="*/ 327277 h 884702"/>
                <a:gd name="csX1986" fmla="*/ 613058 w 1006844"/>
                <a:gd name="csY1986" fmla="*/ 340069 h 884702"/>
                <a:gd name="csX1987" fmla="*/ 625849 w 1006844"/>
                <a:gd name="csY1987" fmla="*/ 352860 h 884702"/>
                <a:gd name="csX1988" fmla="*/ 638640 w 1006844"/>
                <a:gd name="csY1988" fmla="*/ 340069 h 884702"/>
                <a:gd name="csX1989" fmla="*/ 625849 w 1006844"/>
                <a:gd name="csY1989" fmla="*/ 327277 h 884702"/>
                <a:gd name="csX1990" fmla="*/ 625849 w 1006844"/>
                <a:gd name="csY1990" fmla="*/ 368204 h 884702"/>
                <a:gd name="csX1991" fmla="*/ 613058 w 1006844"/>
                <a:gd name="csY1991" fmla="*/ 380995 h 884702"/>
                <a:gd name="csX1992" fmla="*/ 625849 w 1006844"/>
                <a:gd name="csY1992" fmla="*/ 393786 h 884702"/>
                <a:gd name="csX1993" fmla="*/ 638640 w 1006844"/>
                <a:gd name="csY1993" fmla="*/ 380995 h 884702"/>
                <a:gd name="csX1994" fmla="*/ 625849 w 1006844"/>
                <a:gd name="csY1994" fmla="*/ 368204 h 884702"/>
                <a:gd name="csX1995" fmla="*/ 625849 w 1006844"/>
                <a:gd name="csY1995" fmla="*/ 409108 h 884702"/>
                <a:gd name="csX1996" fmla="*/ 613058 w 1006844"/>
                <a:gd name="csY1996" fmla="*/ 421899 h 884702"/>
                <a:gd name="csX1997" fmla="*/ 625849 w 1006844"/>
                <a:gd name="csY1997" fmla="*/ 434690 h 884702"/>
                <a:gd name="csX1998" fmla="*/ 638640 w 1006844"/>
                <a:gd name="csY1998" fmla="*/ 421899 h 884702"/>
                <a:gd name="csX1999" fmla="*/ 625849 w 1006844"/>
                <a:gd name="csY1999" fmla="*/ 409108 h 884702"/>
                <a:gd name="csX2000" fmla="*/ 625849 w 1006844"/>
                <a:gd name="csY2000" fmla="*/ 450012 h 884702"/>
                <a:gd name="csX2001" fmla="*/ 613058 w 1006844"/>
                <a:gd name="csY2001" fmla="*/ 462803 h 884702"/>
                <a:gd name="csX2002" fmla="*/ 625849 w 1006844"/>
                <a:gd name="csY2002" fmla="*/ 475594 h 884702"/>
                <a:gd name="csX2003" fmla="*/ 638640 w 1006844"/>
                <a:gd name="csY2003" fmla="*/ 462803 h 884702"/>
                <a:gd name="csX2004" fmla="*/ 625849 w 1006844"/>
                <a:gd name="csY2004" fmla="*/ 450012 h 884702"/>
                <a:gd name="csX2005" fmla="*/ 625849 w 1006844"/>
                <a:gd name="csY2005" fmla="*/ 490939 h 884702"/>
                <a:gd name="csX2006" fmla="*/ 613058 w 1006844"/>
                <a:gd name="csY2006" fmla="*/ 503730 h 884702"/>
                <a:gd name="csX2007" fmla="*/ 625849 w 1006844"/>
                <a:gd name="csY2007" fmla="*/ 516521 h 884702"/>
                <a:gd name="csX2008" fmla="*/ 638640 w 1006844"/>
                <a:gd name="csY2008" fmla="*/ 503730 h 884702"/>
                <a:gd name="csX2009" fmla="*/ 625849 w 1006844"/>
                <a:gd name="csY2009" fmla="*/ 490939 h 884702"/>
                <a:gd name="csX2010" fmla="*/ 625849 w 1006844"/>
                <a:gd name="csY2010" fmla="*/ 531843 h 884702"/>
                <a:gd name="csX2011" fmla="*/ 613058 w 1006844"/>
                <a:gd name="csY2011" fmla="*/ 544634 h 884702"/>
                <a:gd name="csX2012" fmla="*/ 625849 w 1006844"/>
                <a:gd name="csY2012" fmla="*/ 557425 h 884702"/>
                <a:gd name="csX2013" fmla="*/ 638640 w 1006844"/>
                <a:gd name="csY2013" fmla="*/ 544634 h 884702"/>
                <a:gd name="csX2014" fmla="*/ 625849 w 1006844"/>
                <a:gd name="csY2014" fmla="*/ 531843 h 884702"/>
                <a:gd name="csX2015" fmla="*/ 625849 w 1006844"/>
                <a:gd name="csY2015" fmla="*/ 572747 h 884702"/>
                <a:gd name="csX2016" fmla="*/ 613058 w 1006844"/>
                <a:gd name="csY2016" fmla="*/ 585538 h 884702"/>
                <a:gd name="csX2017" fmla="*/ 625849 w 1006844"/>
                <a:gd name="csY2017" fmla="*/ 598329 h 884702"/>
                <a:gd name="csX2018" fmla="*/ 638640 w 1006844"/>
                <a:gd name="csY2018" fmla="*/ 585538 h 884702"/>
                <a:gd name="csX2019" fmla="*/ 625849 w 1006844"/>
                <a:gd name="csY2019" fmla="*/ 572747 h 884702"/>
                <a:gd name="csX2020" fmla="*/ 625849 w 1006844"/>
                <a:gd name="csY2020" fmla="*/ 613674 h 884702"/>
                <a:gd name="csX2021" fmla="*/ 613058 w 1006844"/>
                <a:gd name="csY2021" fmla="*/ 626465 h 884702"/>
                <a:gd name="csX2022" fmla="*/ 625849 w 1006844"/>
                <a:gd name="csY2022" fmla="*/ 639256 h 884702"/>
                <a:gd name="csX2023" fmla="*/ 638640 w 1006844"/>
                <a:gd name="csY2023" fmla="*/ 626465 h 884702"/>
                <a:gd name="csX2024" fmla="*/ 625849 w 1006844"/>
                <a:gd name="csY2024" fmla="*/ 613674 h 884702"/>
                <a:gd name="csX2025" fmla="*/ 625849 w 1006844"/>
                <a:gd name="csY2025" fmla="*/ 654578 h 884702"/>
                <a:gd name="csX2026" fmla="*/ 613058 w 1006844"/>
                <a:gd name="csY2026" fmla="*/ 667369 h 884702"/>
                <a:gd name="csX2027" fmla="*/ 625849 w 1006844"/>
                <a:gd name="csY2027" fmla="*/ 680160 h 884702"/>
                <a:gd name="csX2028" fmla="*/ 638640 w 1006844"/>
                <a:gd name="csY2028" fmla="*/ 667369 h 884702"/>
                <a:gd name="csX2029" fmla="*/ 625849 w 1006844"/>
                <a:gd name="csY2029" fmla="*/ 654578 h 884702"/>
                <a:gd name="csX2030" fmla="*/ 625849 w 1006844"/>
                <a:gd name="csY2030" fmla="*/ 695482 h 884702"/>
                <a:gd name="csX2031" fmla="*/ 613058 w 1006844"/>
                <a:gd name="csY2031" fmla="*/ 708273 h 884702"/>
                <a:gd name="csX2032" fmla="*/ 625849 w 1006844"/>
                <a:gd name="csY2032" fmla="*/ 721064 h 884702"/>
                <a:gd name="csX2033" fmla="*/ 638640 w 1006844"/>
                <a:gd name="csY2033" fmla="*/ 708273 h 884702"/>
                <a:gd name="csX2034" fmla="*/ 625849 w 1006844"/>
                <a:gd name="csY2034" fmla="*/ 695482 h 884702"/>
                <a:gd name="csX2035" fmla="*/ 625849 w 1006844"/>
                <a:gd name="csY2035" fmla="*/ 736386 h 884702"/>
                <a:gd name="csX2036" fmla="*/ 613058 w 1006844"/>
                <a:gd name="csY2036" fmla="*/ 749177 h 884702"/>
                <a:gd name="csX2037" fmla="*/ 625849 w 1006844"/>
                <a:gd name="csY2037" fmla="*/ 761968 h 884702"/>
                <a:gd name="csX2038" fmla="*/ 638640 w 1006844"/>
                <a:gd name="csY2038" fmla="*/ 749177 h 884702"/>
                <a:gd name="csX2039" fmla="*/ 625849 w 1006844"/>
                <a:gd name="csY2039" fmla="*/ 736386 h 884702"/>
                <a:gd name="csX2040" fmla="*/ 625849 w 1006844"/>
                <a:gd name="csY2040" fmla="*/ 777313 h 884702"/>
                <a:gd name="csX2041" fmla="*/ 613058 w 1006844"/>
                <a:gd name="csY2041" fmla="*/ 790104 h 884702"/>
                <a:gd name="csX2042" fmla="*/ 625849 w 1006844"/>
                <a:gd name="csY2042" fmla="*/ 802895 h 884702"/>
                <a:gd name="csX2043" fmla="*/ 638640 w 1006844"/>
                <a:gd name="csY2043" fmla="*/ 790104 h 884702"/>
                <a:gd name="csX2044" fmla="*/ 625849 w 1006844"/>
                <a:gd name="csY2044" fmla="*/ 777313 h 884702"/>
                <a:gd name="csX2045" fmla="*/ 625849 w 1006844"/>
                <a:gd name="csY2045" fmla="*/ 818217 h 884702"/>
                <a:gd name="csX2046" fmla="*/ 613058 w 1006844"/>
                <a:gd name="csY2046" fmla="*/ 831008 h 884702"/>
                <a:gd name="csX2047" fmla="*/ 625849 w 1006844"/>
                <a:gd name="csY2047" fmla="*/ 843799 h 884702"/>
                <a:gd name="csX2048" fmla="*/ 638640 w 1006844"/>
                <a:gd name="csY2048" fmla="*/ 831008 h 884702"/>
                <a:gd name="csX2049" fmla="*/ 625849 w 1006844"/>
                <a:gd name="csY2049" fmla="*/ 818217 h 884702"/>
                <a:gd name="csX2050" fmla="*/ 625849 w 1006844"/>
                <a:gd name="csY2050" fmla="*/ 859121 h 884702"/>
                <a:gd name="csX2051" fmla="*/ 613058 w 1006844"/>
                <a:gd name="csY2051" fmla="*/ 871912 h 884702"/>
                <a:gd name="csX2052" fmla="*/ 625849 w 1006844"/>
                <a:gd name="csY2052" fmla="*/ 884703 h 884702"/>
                <a:gd name="csX2053" fmla="*/ 638640 w 1006844"/>
                <a:gd name="csY2053" fmla="*/ 871912 h 884702"/>
                <a:gd name="csX2054" fmla="*/ 625849 w 1006844"/>
                <a:gd name="csY2054" fmla="*/ 859121 h 884702"/>
                <a:gd name="csX2055" fmla="*/ 584945 w 1006844"/>
                <a:gd name="csY2055" fmla="*/ 245470 h 884702"/>
                <a:gd name="csX2056" fmla="*/ 572154 w 1006844"/>
                <a:gd name="csY2056" fmla="*/ 258261 h 884702"/>
                <a:gd name="csX2057" fmla="*/ 584945 w 1006844"/>
                <a:gd name="csY2057" fmla="*/ 271052 h 884702"/>
                <a:gd name="csX2058" fmla="*/ 597736 w 1006844"/>
                <a:gd name="csY2058" fmla="*/ 258261 h 884702"/>
                <a:gd name="csX2059" fmla="*/ 584945 w 1006844"/>
                <a:gd name="csY2059" fmla="*/ 245470 h 884702"/>
                <a:gd name="csX2060" fmla="*/ 584945 w 1006844"/>
                <a:gd name="csY2060" fmla="*/ 286374 h 884702"/>
                <a:gd name="csX2061" fmla="*/ 572154 w 1006844"/>
                <a:gd name="csY2061" fmla="*/ 299165 h 884702"/>
                <a:gd name="csX2062" fmla="*/ 584945 w 1006844"/>
                <a:gd name="csY2062" fmla="*/ 311956 h 884702"/>
                <a:gd name="csX2063" fmla="*/ 597736 w 1006844"/>
                <a:gd name="csY2063" fmla="*/ 299165 h 884702"/>
                <a:gd name="csX2064" fmla="*/ 584945 w 1006844"/>
                <a:gd name="csY2064" fmla="*/ 286374 h 884702"/>
                <a:gd name="csX2065" fmla="*/ 584945 w 1006844"/>
                <a:gd name="csY2065" fmla="*/ 327277 h 884702"/>
                <a:gd name="csX2066" fmla="*/ 572154 w 1006844"/>
                <a:gd name="csY2066" fmla="*/ 340069 h 884702"/>
                <a:gd name="csX2067" fmla="*/ 584945 w 1006844"/>
                <a:gd name="csY2067" fmla="*/ 352860 h 884702"/>
                <a:gd name="csX2068" fmla="*/ 597736 w 1006844"/>
                <a:gd name="csY2068" fmla="*/ 340069 h 884702"/>
                <a:gd name="csX2069" fmla="*/ 584945 w 1006844"/>
                <a:gd name="csY2069" fmla="*/ 327277 h 884702"/>
                <a:gd name="csX2070" fmla="*/ 584945 w 1006844"/>
                <a:gd name="csY2070" fmla="*/ 368204 h 884702"/>
                <a:gd name="csX2071" fmla="*/ 572154 w 1006844"/>
                <a:gd name="csY2071" fmla="*/ 380995 h 884702"/>
                <a:gd name="csX2072" fmla="*/ 584945 w 1006844"/>
                <a:gd name="csY2072" fmla="*/ 393786 h 884702"/>
                <a:gd name="csX2073" fmla="*/ 597736 w 1006844"/>
                <a:gd name="csY2073" fmla="*/ 380995 h 884702"/>
                <a:gd name="csX2074" fmla="*/ 584945 w 1006844"/>
                <a:gd name="csY2074" fmla="*/ 368204 h 884702"/>
                <a:gd name="csX2075" fmla="*/ 584945 w 1006844"/>
                <a:gd name="csY2075" fmla="*/ 409108 h 884702"/>
                <a:gd name="csX2076" fmla="*/ 572154 w 1006844"/>
                <a:gd name="csY2076" fmla="*/ 421899 h 884702"/>
                <a:gd name="csX2077" fmla="*/ 584945 w 1006844"/>
                <a:gd name="csY2077" fmla="*/ 434690 h 884702"/>
                <a:gd name="csX2078" fmla="*/ 597736 w 1006844"/>
                <a:gd name="csY2078" fmla="*/ 421899 h 884702"/>
                <a:gd name="csX2079" fmla="*/ 584945 w 1006844"/>
                <a:gd name="csY2079" fmla="*/ 409108 h 884702"/>
                <a:gd name="csX2080" fmla="*/ 584945 w 1006844"/>
                <a:gd name="csY2080" fmla="*/ 450012 h 884702"/>
                <a:gd name="csX2081" fmla="*/ 572154 w 1006844"/>
                <a:gd name="csY2081" fmla="*/ 462803 h 884702"/>
                <a:gd name="csX2082" fmla="*/ 584945 w 1006844"/>
                <a:gd name="csY2082" fmla="*/ 475594 h 884702"/>
                <a:gd name="csX2083" fmla="*/ 597736 w 1006844"/>
                <a:gd name="csY2083" fmla="*/ 462803 h 884702"/>
                <a:gd name="csX2084" fmla="*/ 584945 w 1006844"/>
                <a:gd name="csY2084" fmla="*/ 450012 h 884702"/>
                <a:gd name="csX2085" fmla="*/ 584945 w 1006844"/>
                <a:gd name="csY2085" fmla="*/ 490939 h 884702"/>
                <a:gd name="csX2086" fmla="*/ 572154 w 1006844"/>
                <a:gd name="csY2086" fmla="*/ 503730 h 884702"/>
                <a:gd name="csX2087" fmla="*/ 584945 w 1006844"/>
                <a:gd name="csY2087" fmla="*/ 516521 h 884702"/>
                <a:gd name="csX2088" fmla="*/ 597736 w 1006844"/>
                <a:gd name="csY2088" fmla="*/ 503730 h 884702"/>
                <a:gd name="csX2089" fmla="*/ 584945 w 1006844"/>
                <a:gd name="csY2089" fmla="*/ 490939 h 884702"/>
                <a:gd name="csX2090" fmla="*/ 584945 w 1006844"/>
                <a:gd name="csY2090" fmla="*/ 531843 h 884702"/>
                <a:gd name="csX2091" fmla="*/ 572154 w 1006844"/>
                <a:gd name="csY2091" fmla="*/ 544634 h 884702"/>
                <a:gd name="csX2092" fmla="*/ 584945 w 1006844"/>
                <a:gd name="csY2092" fmla="*/ 557425 h 884702"/>
                <a:gd name="csX2093" fmla="*/ 597736 w 1006844"/>
                <a:gd name="csY2093" fmla="*/ 544634 h 884702"/>
                <a:gd name="csX2094" fmla="*/ 584945 w 1006844"/>
                <a:gd name="csY2094" fmla="*/ 531843 h 884702"/>
                <a:gd name="csX2095" fmla="*/ 584945 w 1006844"/>
                <a:gd name="csY2095" fmla="*/ 572747 h 884702"/>
                <a:gd name="csX2096" fmla="*/ 572154 w 1006844"/>
                <a:gd name="csY2096" fmla="*/ 585538 h 884702"/>
                <a:gd name="csX2097" fmla="*/ 584945 w 1006844"/>
                <a:gd name="csY2097" fmla="*/ 598329 h 884702"/>
                <a:gd name="csX2098" fmla="*/ 597736 w 1006844"/>
                <a:gd name="csY2098" fmla="*/ 585538 h 884702"/>
                <a:gd name="csX2099" fmla="*/ 584945 w 1006844"/>
                <a:gd name="csY2099" fmla="*/ 572747 h 884702"/>
                <a:gd name="csX2100" fmla="*/ 584945 w 1006844"/>
                <a:gd name="csY2100" fmla="*/ 613674 h 884702"/>
                <a:gd name="csX2101" fmla="*/ 572154 w 1006844"/>
                <a:gd name="csY2101" fmla="*/ 626465 h 884702"/>
                <a:gd name="csX2102" fmla="*/ 584945 w 1006844"/>
                <a:gd name="csY2102" fmla="*/ 639256 h 884702"/>
                <a:gd name="csX2103" fmla="*/ 597736 w 1006844"/>
                <a:gd name="csY2103" fmla="*/ 626465 h 884702"/>
                <a:gd name="csX2104" fmla="*/ 584945 w 1006844"/>
                <a:gd name="csY2104" fmla="*/ 613674 h 884702"/>
                <a:gd name="csX2105" fmla="*/ 584945 w 1006844"/>
                <a:gd name="csY2105" fmla="*/ 654578 h 884702"/>
                <a:gd name="csX2106" fmla="*/ 572154 w 1006844"/>
                <a:gd name="csY2106" fmla="*/ 667369 h 884702"/>
                <a:gd name="csX2107" fmla="*/ 584945 w 1006844"/>
                <a:gd name="csY2107" fmla="*/ 680160 h 884702"/>
                <a:gd name="csX2108" fmla="*/ 597736 w 1006844"/>
                <a:gd name="csY2108" fmla="*/ 667369 h 884702"/>
                <a:gd name="csX2109" fmla="*/ 584945 w 1006844"/>
                <a:gd name="csY2109" fmla="*/ 654578 h 884702"/>
                <a:gd name="csX2110" fmla="*/ 584945 w 1006844"/>
                <a:gd name="csY2110" fmla="*/ 695482 h 884702"/>
                <a:gd name="csX2111" fmla="*/ 572154 w 1006844"/>
                <a:gd name="csY2111" fmla="*/ 708273 h 884702"/>
                <a:gd name="csX2112" fmla="*/ 584945 w 1006844"/>
                <a:gd name="csY2112" fmla="*/ 721064 h 884702"/>
                <a:gd name="csX2113" fmla="*/ 597736 w 1006844"/>
                <a:gd name="csY2113" fmla="*/ 708273 h 884702"/>
                <a:gd name="csX2114" fmla="*/ 584945 w 1006844"/>
                <a:gd name="csY2114" fmla="*/ 695482 h 884702"/>
                <a:gd name="csX2115" fmla="*/ 584945 w 1006844"/>
                <a:gd name="csY2115" fmla="*/ 736386 h 884702"/>
                <a:gd name="csX2116" fmla="*/ 572154 w 1006844"/>
                <a:gd name="csY2116" fmla="*/ 749177 h 884702"/>
                <a:gd name="csX2117" fmla="*/ 584945 w 1006844"/>
                <a:gd name="csY2117" fmla="*/ 761968 h 884702"/>
                <a:gd name="csX2118" fmla="*/ 597736 w 1006844"/>
                <a:gd name="csY2118" fmla="*/ 749177 h 884702"/>
                <a:gd name="csX2119" fmla="*/ 584945 w 1006844"/>
                <a:gd name="csY2119" fmla="*/ 736386 h 884702"/>
                <a:gd name="csX2120" fmla="*/ 584945 w 1006844"/>
                <a:gd name="csY2120" fmla="*/ 777313 h 884702"/>
                <a:gd name="csX2121" fmla="*/ 572154 w 1006844"/>
                <a:gd name="csY2121" fmla="*/ 790104 h 884702"/>
                <a:gd name="csX2122" fmla="*/ 584945 w 1006844"/>
                <a:gd name="csY2122" fmla="*/ 802895 h 884702"/>
                <a:gd name="csX2123" fmla="*/ 597736 w 1006844"/>
                <a:gd name="csY2123" fmla="*/ 790104 h 884702"/>
                <a:gd name="csX2124" fmla="*/ 584945 w 1006844"/>
                <a:gd name="csY2124" fmla="*/ 777313 h 884702"/>
                <a:gd name="csX2125" fmla="*/ 584945 w 1006844"/>
                <a:gd name="csY2125" fmla="*/ 818217 h 884702"/>
                <a:gd name="csX2126" fmla="*/ 572154 w 1006844"/>
                <a:gd name="csY2126" fmla="*/ 831008 h 884702"/>
                <a:gd name="csX2127" fmla="*/ 584945 w 1006844"/>
                <a:gd name="csY2127" fmla="*/ 843799 h 884702"/>
                <a:gd name="csX2128" fmla="*/ 597736 w 1006844"/>
                <a:gd name="csY2128" fmla="*/ 831008 h 884702"/>
                <a:gd name="csX2129" fmla="*/ 584945 w 1006844"/>
                <a:gd name="csY2129" fmla="*/ 818217 h 884702"/>
                <a:gd name="csX2130" fmla="*/ 584945 w 1006844"/>
                <a:gd name="csY2130" fmla="*/ 859121 h 884702"/>
                <a:gd name="csX2131" fmla="*/ 572154 w 1006844"/>
                <a:gd name="csY2131" fmla="*/ 871912 h 884702"/>
                <a:gd name="csX2132" fmla="*/ 584945 w 1006844"/>
                <a:gd name="csY2132" fmla="*/ 884703 h 884702"/>
                <a:gd name="csX2133" fmla="*/ 597736 w 1006844"/>
                <a:gd name="csY2133" fmla="*/ 871912 h 884702"/>
                <a:gd name="csX2134" fmla="*/ 584945 w 1006844"/>
                <a:gd name="csY2134" fmla="*/ 859121 h 884702"/>
                <a:gd name="csX2135" fmla="*/ 544041 w 1006844"/>
                <a:gd name="csY2135" fmla="*/ 286374 h 884702"/>
                <a:gd name="csX2136" fmla="*/ 531250 w 1006844"/>
                <a:gd name="csY2136" fmla="*/ 299165 h 884702"/>
                <a:gd name="csX2137" fmla="*/ 544041 w 1006844"/>
                <a:gd name="csY2137" fmla="*/ 311956 h 884702"/>
                <a:gd name="csX2138" fmla="*/ 556832 w 1006844"/>
                <a:gd name="csY2138" fmla="*/ 299165 h 884702"/>
                <a:gd name="csX2139" fmla="*/ 544041 w 1006844"/>
                <a:gd name="csY2139" fmla="*/ 286374 h 884702"/>
                <a:gd name="csX2140" fmla="*/ 544041 w 1006844"/>
                <a:gd name="csY2140" fmla="*/ 327277 h 884702"/>
                <a:gd name="csX2141" fmla="*/ 531250 w 1006844"/>
                <a:gd name="csY2141" fmla="*/ 340069 h 884702"/>
                <a:gd name="csX2142" fmla="*/ 544041 w 1006844"/>
                <a:gd name="csY2142" fmla="*/ 352860 h 884702"/>
                <a:gd name="csX2143" fmla="*/ 556832 w 1006844"/>
                <a:gd name="csY2143" fmla="*/ 340069 h 884702"/>
                <a:gd name="csX2144" fmla="*/ 544041 w 1006844"/>
                <a:gd name="csY2144" fmla="*/ 327277 h 884702"/>
                <a:gd name="csX2145" fmla="*/ 544041 w 1006844"/>
                <a:gd name="csY2145" fmla="*/ 368204 h 884702"/>
                <a:gd name="csX2146" fmla="*/ 531250 w 1006844"/>
                <a:gd name="csY2146" fmla="*/ 380995 h 884702"/>
                <a:gd name="csX2147" fmla="*/ 544041 w 1006844"/>
                <a:gd name="csY2147" fmla="*/ 393786 h 884702"/>
                <a:gd name="csX2148" fmla="*/ 556832 w 1006844"/>
                <a:gd name="csY2148" fmla="*/ 380995 h 884702"/>
                <a:gd name="csX2149" fmla="*/ 544041 w 1006844"/>
                <a:gd name="csY2149" fmla="*/ 368204 h 884702"/>
                <a:gd name="csX2150" fmla="*/ 544041 w 1006844"/>
                <a:gd name="csY2150" fmla="*/ 409108 h 884702"/>
                <a:gd name="csX2151" fmla="*/ 531250 w 1006844"/>
                <a:gd name="csY2151" fmla="*/ 421899 h 884702"/>
                <a:gd name="csX2152" fmla="*/ 544041 w 1006844"/>
                <a:gd name="csY2152" fmla="*/ 434690 h 884702"/>
                <a:gd name="csX2153" fmla="*/ 556832 w 1006844"/>
                <a:gd name="csY2153" fmla="*/ 421899 h 884702"/>
                <a:gd name="csX2154" fmla="*/ 544041 w 1006844"/>
                <a:gd name="csY2154" fmla="*/ 409108 h 884702"/>
                <a:gd name="csX2155" fmla="*/ 544041 w 1006844"/>
                <a:gd name="csY2155" fmla="*/ 450012 h 884702"/>
                <a:gd name="csX2156" fmla="*/ 531250 w 1006844"/>
                <a:gd name="csY2156" fmla="*/ 462803 h 884702"/>
                <a:gd name="csX2157" fmla="*/ 544041 w 1006844"/>
                <a:gd name="csY2157" fmla="*/ 475594 h 884702"/>
                <a:gd name="csX2158" fmla="*/ 556832 w 1006844"/>
                <a:gd name="csY2158" fmla="*/ 462803 h 884702"/>
                <a:gd name="csX2159" fmla="*/ 544041 w 1006844"/>
                <a:gd name="csY2159" fmla="*/ 450012 h 884702"/>
                <a:gd name="csX2160" fmla="*/ 544041 w 1006844"/>
                <a:gd name="csY2160" fmla="*/ 490939 h 884702"/>
                <a:gd name="csX2161" fmla="*/ 531250 w 1006844"/>
                <a:gd name="csY2161" fmla="*/ 503730 h 884702"/>
                <a:gd name="csX2162" fmla="*/ 544041 w 1006844"/>
                <a:gd name="csY2162" fmla="*/ 516521 h 884702"/>
                <a:gd name="csX2163" fmla="*/ 556832 w 1006844"/>
                <a:gd name="csY2163" fmla="*/ 503730 h 884702"/>
                <a:gd name="csX2164" fmla="*/ 544041 w 1006844"/>
                <a:gd name="csY2164" fmla="*/ 490939 h 884702"/>
                <a:gd name="csX2165" fmla="*/ 544041 w 1006844"/>
                <a:gd name="csY2165" fmla="*/ 531843 h 884702"/>
                <a:gd name="csX2166" fmla="*/ 531250 w 1006844"/>
                <a:gd name="csY2166" fmla="*/ 544634 h 884702"/>
                <a:gd name="csX2167" fmla="*/ 544041 w 1006844"/>
                <a:gd name="csY2167" fmla="*/ 557425 h 884702"/>
                <a:gd name="csX2168" fmla="*/ 556832 w 1006844"/>
                <a:gd name="csY2168" fmla="*/ 544634 h 884702"/>
                <a:gd name="csX2169" fmla="*/ 544041 w 1006844"/>
                <a:gd name="csY2169" fmla="*/ 531843 h 884702"/>
                <a:gd name="csX2170" fmla="*/ 544041 w 1006844"/>
                <a:gd name="csY2170" fmla="*/ 572747 h 884702"/>
                <a:gd name="csX2171" fmla="*/ 531250 w 1006844"/>
                <a:gd name="csY2171" fmla="*/ 585538 h 884702"/>
                <a:gd name="csX2172" fmla="*/ 544041 w 1006844"/>
                <a:gd name="csY2172" fmla="*/ 598329 h 884702"/>
                <a:gd name="csX2173" fmla="*/ 556832 w 1006844"/>
                <a:gd name="csY2173" fmla="*/ 585538 h 884702"/>
                <a:gd name="csX2174" fmla="*/ 544041 w 1006844"/>
                <a:gd name="csY2174" fmla="*/ 572747 h 884702"/>
                <a:gd name="csX2175" fmla="*/ 544041 w 1006844"/>
                <a:gd name="csY2175" fmla="*/ 613674 h 884702"/>
                <a:gd name="csX2176" fmla="*/ 531250 w 1006844"/>
                <a:gd name="csY2176" fmla="*/ 626465 h 884702"/>
                <a:gd name="csX2177" fmla="*/ 544041 w 1006844"/>
                <a:gd name="csY2177" fmla="*/ 639256 h 884702"/>
                <a:gd name="csX2178" fmla="*/ 556832 w 1006844"/>
                <a:gd name="csY2178" fmla="*/ 626465 h 884702"/>
                <a:gd name="csX2179" fmla="*/ 544041 w 1006844"/>
                <a:gd name="csY2179" fmla="*/ 613674 h 884702"/>
                <a:gd name="csX2180" fmla="*/ 544041 w 1006844"/>
                <a:gd name="csY2180" fmla="*/ 654578 h 884702"/>
                <a:gd name="csX2181" fmla="*/ 531250 w 1006844"/>
                <a:gd name="csY2181" fmla="*/ 667369 h 884702"/>
                <a:gd name="csX2182" fmla="*/ 544041 w 1006844"/>
                <a:gd name="csY2182" fmla="*/ 680160 h 884702"/>
                <a:gd name="csX2183" fmla="*/ 556832 w 1006844"/>
                <a:gd name="csY2183" fmla="*/ 667369 h 884702"/>
                <a:gd name="csX2184" fmla="*/ 544041 w 1006844"/>
                <a:gd name="csY2184" fmla="*/ 654578 h 884702"/>
                <a:gd name="csX2185" fmla="*/ 544041 w 1006844"/>
                <a:gd name="csY2185" fmla="*/ 695482 h 884702"/>
                <a:gd name="csX2186" fmla="*/ 531250 w 1006844"/>
                <a:gd name="csY2186" fmla="*/ 708273 h 884702"/>
                <a:gd name="csX2187" fmla="*/ 544041 w 1006844"/>
                <a:gd name="csY2187" fmla="*/ 721064 h 884702"/>
                <a:gd name="csX2188" fmla="*/ 556832 w 1006844"/>
                <a:gd name="csY2188" fmla="*/ 708273 h 884702"/>
                <a:gd name="csX2189" fmla="*/ 544041 w 1006844"/>
                <a:gd name="csY2189" fmla="*/ 695482 h 884702"/>
                <a:gd name="csX2190" fmla="*/ 544041 w 1006844"/>
                <a:gd name="csY2190" fmla="*/ 736386 h 884702"/>
                <a:gd name="csX2191" fmla="*/ 531250 w 1006844"/>
                <a:gd name="csY2191" fmla="*/ 749177 h 884702"/>
                <a:gd name="csX2192" fmla="*/ 544041 w 1006844"/>
                <a:gd name="csY2192" fmla="*/ 761968 h 884702"/>
                <a:gd name="csX2193" fmla="*/ 556832 w 1006844"/>
                <a:gd name="csY2193" fmla="*/ 749177 h 884702"/>
                <a:gd name="csX2194" fmla="*/ 544041 w 1006844"/>
                <a:gd name="csY2194" fmla="*/ 736386 h 884702"/>
                <a:gd name="csX2195" fmla="*/ 544041 w 1006844"/>
                <a:gd name="csY2195" fmla="*/ 777313 h 884702"/>
                <a:gd name="csX2196" fmla="*/ 531250 w 1006844"/>
                <a:gd name="csY2196" fmla="*/ 790104 h 884702"/>
                <a:gd name="csX2197" fmla="*/ 544041 w 1006844"/>
                <a:gd name="csY2197" fmla="*/ 802895 h 884702"/>
                <a:gd name="csX2198" fmla="*/ 556832 w 1006844"/>
                <a:gd name="csY2198" fmla="*/ 790104 h 884702"/>
                <a:gd name="csX2199" fmla="*/ 544041 w 1006844"/>
                <a:gd name="csY2199" fmla="*/ 777313 h 884702"/>
                <a:gd name="csX2200" fmla="*/ 544041 w 1006844"/>
                <a:gd name="csY2200" fmla="*/ 818217 h 884702"/>
                <a:gd name="csX2201" fmla="*/ 531250 w 1006844"/>
                <a:gd name="csY2201" fmla="*/ 831008 h 884702"/>
                <a:gd name="csX2202" fmla="*/ 544041 w 1006844"/>
                <a:gd name="csY2202" fmla="*/ 843799 h 884702"/>
                <a:gd name="csX2203" fmla="*/ 556832 w 1006844"/>
                <a:gd name="csY2203" fmla="*/ 831008 h 884702"/>
                <a:gd name="csX2204" fmla="*/ 544041 w 1006844"/>
                <a:gd name="csY2204" fmla="*/ 818217 h 884702"/>
                <a:gd name="csX2205" fmla="*/ 544041 w 1006844"/>
                <a:gd name="csY2205" fmla="*/ 859121 h 884702"/>
                <a:gd name="csX2206" fmla="*/ 531250 w 1006844"/>
                <a:gd name="csY2206" fmla="*/ 871912 h 884702"/>
                <a:gd name="csX2207" fmla="*/ 544041 w 1006844"/>
                <a:gd name="csY2207" fmla="*/ 884703 h 884702"/>
                <a:gd name="csX2208" fmla="*/ 556832 w 1006844"/>
                <a:gd name="csY2208" fmla="*/ 871912 h 884702"/>
                <a:gd name="csX2209" fmla="*/ 544041 w 1006844"/>
                <a:gd name="csY2209" fmla="*/ 859121 h 884702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  <a:cxn ang="0">
                  <a:pos x="csX11" y="csY11"/>
                </a:cxn>
                <a:cxn ang="0">
                  <a:pos x="csX12" y="csY12"/>
                </a:cxn>
                <a:cxn ang="0">
                  <a:pos x="csX13" y="csY13"/>
                </a:cxn>
                <a:cxn ang="0">
                  <a:pos x="csX14" y="csY14"/>
                </a:cxn>
                <a:cxn ang="0">
                  <a:pos x="csX15" y="csY15"/>
                </a:cxn>
                <a:cxn ang="0">
                  <a:pos x="csX16" y="csY16"/>
                </a:cxn>
                <a:cxn ang="0">
                  <a:pos x="csX17" y="csY17"/>
                </a:cxn>
                <a:cxn ang="0">
                  <a:pos x="csX18" y="csY18"/>
                </a:cxn>
                <a:cxn ang="0">
                  <a:pos x="csX19" y="csY19"/>
                </a:cxn>
                <a:cxn ang="0">
                  <a:pos x="csX20" y="csY20"/>
                </a:cxn>
                <a:cxn ang="0">
                  <a:pos x="csX21" y="csY21"/>
                </a:cxn>
                <a:cxn ang="0">
                  <a:pos x="csX22" y="csY22"/>
                </a:cxn>
                <a:cxn ang="0">
                  <a:pos x="csX23" y="csY23"/>
                </a:cxn>
                <a:cxn ang="0">
                  <a:pos x="csX24" y="csY24"/>
                </a:cxn>
                <a:cxn ang="0">
                  <a:pos x="csX25" y="csY25"/>
                </a:cxn>
                <a:cxn ang="0">
                  <a:pos x="csX26" y="csY26"/>
                </a:cxn>
                <a:cxn ang="0">
                  <a:pos x="csX27" y="csY27"/>
                </a:cxn>
                <a:cxn ang="0">
                  <a:pos x="csX28" y="csY28"/>
                </a:cxn>
                <a:cxn ang="0">
                  <a:pos x="csX29" y="csY29"/>
                </a:cxn>
                <a:cxn ang="0">
                  <a:pos x="csX30" y="csY30"/>
                </a:cxn>
                <a:cxn ang="0">
                  <a:pos x="csX31" y="csY31"/>
                </a:cxn>
                <a:cxn ang="0">
                  <a:pos x="csX32" y="csY32"/>
                </a:cxn>
                <a:cxn ang="0">
                  <a:pos x="csX33" y="csY33"/>
                </a:cxn>
                <a:cxn ang="0">
                  <a:pos x="csX34" y="csY34"/>
                </a:cxn>
                <a:cxn ang="0">
                  <a:pos x="csX35" y="csY35"/>
                </a:cxn>
                <a:cxn ang="0">
                  <a:pos x="csX36" y="csY36"/>
                </a:cxn>
                <a:cxn ang="0">
                  <a:pos x="csX37" y="csY37"/>
                </a:cxn>
                <a:cxn ang="0">
                  <a:pos x="csX38" y="csY38"/>
                </a:cxn>
                <a:cxn ang="0">
                  <a:pos x="csX39" y="csY39"/>
                </a:cxn>
                <a:cxn ang="0">
                  <a:pos x="csX40" y="csY40"/>
                </a:cxn>
                <a:cxn ang="0">
                  <a:pos x="csX41" y="csY41"/>
                </a:cxn>
                <a:cxn ang="0">
                  <a:pos x="csX42" y="csY42"/>
                </a:cxn>
                <a:cxn ang="0">
                  <a:pos x="csX43" y="csY43"/>
                </a:cxn>
                <a:cxn ang="0">
                  <a:pos x="csX44" y="csY44"/>
                </a:cxn>
                <a:cxn ang="0">
                  <a:pos x="csX45" y="csY45"/>
                </a:cxn>
                <a:cxn ang="0">
                  <a:pos x="csX46" y="csY46"/>
                </a:cxn>
                <a:cxn ang="0">
                  <a:pos x="csX47" y="csY47"/>
                </a:cxn>
                <a:cxn ang="0">
                  <a:pos x="csX48" y="csY48"/>
                </a:cxn>
                <a:cxn ang="0">
                  <a:pos x="csX49" y="csY49"/>
                </a:cxn>
                <a:cxn ang="0">
                  <a:pos x="csX50" y="csY50"/>
                </a:cxn>
                <a:cxn ang="0">
                  <a:pos x="csX51" y="csY51"/>
                </a:cxn>
                <a:cxn ang="0">
                  <a:pos x="csX52" y="csY52"/>
                </a:cxn>
                <a:cxn ang="0">
                  <a:pos x="csX53" y="csY53"/>
                </a:cxn>
                <a:cxn ang="0">
                  <a:pos x="csX54" y="csY54"/>
                </a:cxn>
                <a:cxn ang="0">
                  <a:pos x="csX55" y="csY55"/>
                </a:cxn>
                <a:cxn ang="0">
                  <a:pos x="csX56" y="csY56"/>
                </a:cxn>
                <a:cxn ang="0">
                  <a:pos x="csX57" y="csY57"/>
                </a:cxn>
                <a:cxn ang="0">
                  <a:pos x="csX58" y="csY58"/>
                </a:cxn>
                <a:cxn ang="0">
                  <a:pos x="csX59" y="csY59"/>
                </a:cxn>
                <a:cxn ang="0">
                  <a:pos x="csX60" y="csY60"/>
                </a:cxn>
                <a:cxn ang="0">
                  <a:pos x="csX61" y="csY61"/>
                </a:cxn>
                <a:cxn ang="0">
                  <a:pos x="csX62" y="csY62"/>
                </a:cxn>
                <a:cxn ang="0">
                  <a:pos x="csX63" y="csY63"/>
                </a:cxn>
                <a:cxn ang="0">
                  <a:pos x="csX64" y="csY64"/>
                </a:cxn>
                <a:cxn ang="0">
                  <a:pos x="csX65" y="csY65"/>
                </a:cxn>
                <a:cxn ang="0">
                  <a:pos x="csX66" y="csY66"/>
                </a:cxn>
                <a:cxn ang="0">
                  <a:pos x="csX67" y="csY67"/>
                </a:cxn>
                <a:cxn ang="0">
                  <a:pos x="csX68" y="csY68"/>
                </a:cxn>
                <a:cxn ang="0">
                  <a:pos x="csX69" y="csY69"/>
                </a:cxn>
                <a:cxn ang="0">
                  <a:pos x="csX70" y="csY70"/>
                </a:cxn>
                <a:cxn ang="0">
                  <a:pos x="csX71" y="csY71"/>
                </a:cxn>
                <a:cxn ang="0">
                  <a:pos x="csX72" y="csY72"/>
                </a:cxn>
                <a:cxn ang="0">
                  <a:pos x="csX73" y="csY73"/>
                </a:cxn>
                <a:cxn ang="0">
                  <a:pos x="csX74" y="csY74"/>
                </a:cxn>
                <a:cxn ang="0">
                  <a:pos x="csX75" y="csY75"/>
                </a:cxn>
                <a:cxn ang="0">
                  <a:pos x="csX76" y="csY76"/>
                </a:cxn>
                <a:cxn ang="0">
                  <a:pos x="csX77" y="csY77"/>
                </a:cxn>
                <a:cxn ang="0">
                  <a:pos x="csX78" y="csY78"/>
                </a:cxn>
                <a:cxn ang="0">
                  <a:pos x="csX79" y="csY79"/>
                </a:cxn>
                <a:cxn ang="0">
                  <a:pos x="csX80" y="csY80"/>
                </a:cxn>
                <a:cxn ang="0">
                  <a:pos x="csX81" y="csY81"/>
                </a:cxn>
                <a:cxn ang="0">
                  <a:pos x="csX82" y="csY82"/>
                </a:cxn>
                <a:cxn ang="0">
                  <a:pos x="csX83" y="csY83"/>
                </a:cxn>
                <a:cxn ang="0">
                  <a:pos x="csX84" y="csY84"/>
                </a:cxn>
                <a:cxn ang="0">
                  <a:pos x="csX85" y="csY85"/>
                </a:cxn>
                <a:cxn ang="0">
                  <a:pos x="csX86" y="csY86"/>
                </a:cxn>
                <a:cxn ang="0">
                  <a:pos x="csX87" y="csY87"/>
                </a:cxn>
                <a:cxn ang="0">
                  <a:pos x="csX88" y="csY88"/>
                </a:cxn>
                <a:cxn ang="0">
                  <a:pos x="csX89" y="csY89"/>
                </a:cxn>
                <a:cxn ang="0">
                  <a:pos x="csX90" y="csY90"/>
                </a:cxn>
                <a:cxn ang="0">
                  <a:pos x="csX91" y="csY91"/>
                </a:cxn>
                <a:cxn ang="0">
                  <a:pos x="csX92" y="csY92"/>
                </a:cxn>
                <a:cxn ang="0">
                  <a:pos x="csX93" y="csY93"/>
                </a:cxn>
                <a:cxn ang="0">
                  <a:pos x="csX94" y="csY94"/>
                </a:cxn>
                <a:cxn ang="0">
                  <a:pos x="csX95" y="csY95"/>
                </a:cxn>
                <a:cxn ang="0">
                  <a:pos x="csX96" y="csY96"/>
                </a:cxn>
                <a:cxn ang="0">
                  <a:pos x="csX97" y="csY97"/>
                </a:cxn>
                <a:cxn ang="0">
                  <a:pos x="csX98" y="csY98"/>
                </a:cxn>
                <a:cxn ang="0">
                  <a:pos x="csX99" y="csY99"/>
                </a:cxn>
                <a:cxn ang="0">
                  <a:pos x="csX100" y="csY100"/>
                </a:cxn>
                <a:cxn ang="0">
                  <a:pos x="csX101" y="csY101"/>
                </a:cxn>
                <a:cxn ang="0">
                  <a:pos x="csX102" y="csY102"/>
                </a:cxn>
                <a:cxn ang="0">
                  <a:pos x="csX103" y="csY103"/>
                </a:cxn>
                <a:cxn ang="0">
                  <a:pos x="csX104" y="csY104"/>
                </a:cxn>
                <a:cxn ang="0">
                  <a:pos x="csX105" y="csY105"/>
                </a:cxn>
                <a:cxn ang="0">
                  <a:pos x="csX106" y="csY106"/>
                </a:cxn>
                <a:cxn ang="0">
                  <a:pos x="csX107" y="csY107"/>
                </a:cxn>
                <a:cxn ang="0">
                  <a:pos x="csX108" y="csY108"/>
                </a:cxn>
                <a:cxn ang="0">
                  <a:pos x="csX109" y="csY109"/>
                </a:cxn>
                <a:cxn ang="0">
                  <a:pos x="csX110" y="csY110"/>
                </a:cxn>
                <a:cxn ang="0">
                  <a:pos x="csX111" y="csY111"/>
                </a:cxn>
                <a:cxn ang="0">
                  <a:pos x="csX112" y="csY112"/>
                </a:cxn>
                <a:cxn ang="0">
                  <a:pos x="csX113" y="csY113"/>
                </a:cxn>
                <a:cxn ang="0">
                  <a:pos x="csX114" y="csY114"/>
                </a:cxn>
                <a:cxn ang="0">
                  <a:pos x="csX115" y="csY115"/>
                </a:cxn>
                <a:cxn ang="0">
                  <a:pos x="csX116" y="csY116"/>
                </a:cxn>
                <a:cxn ang="0">
                  <a:pos x="csX117" y="csY117"/>
                </a:cxn>
                <a:cxn ang="0">
                  <a:pos x="csX118" y="csY118"/>
                </a:cxn>
                <a:cxn ang="0">
                  <a:pos x="csX119" y="csY119"/>
                </a:cxn>
                <a:cxn ang="0">
                  <a:pos x="csX120" y="csY120"/>
                </a:cxn>
                <a:cxn ang="0">
                  <a:pos x="csX121" y="csY121"/>
                </a:cxn>
                <a:cxn ang="0">
                  <a:pos x="csX122" y="csY122"/>
                </a:cxn>
                <a:cxn ang="0">
                  <a:pos x="csX123" y="csY123"/>
                </a:cxn>
                <a:cxn ang="0">
                  <a:pos x="csX124" y="csY124"/>
                </a:cxn>
                <a:cxn ang="0">
                  <a:pos x="csX125" y="csY125"/>
                </a:cxn>
                <a:cxn ang="0">
                  <a:pos x="csX126" y="csY126"/>
                </a:cxn>
                <a:cxn ang="0">
                  <a:pos x="csX127" y="csY127"/>
                </a:cxn>
                <a:cxn ang="0">
                  <a:pos x="csX128" y="csY128"/>
                </a:cxn>
                <a:cxn ang="0">
                  <a:pos x="csX129" y="csY129"/>
                </a:cxn>
                <a:cxn ang="0">
                  <a:pos x="csX130" y="csY130"/>
                </a:cxn>
                <a:cxn ang="0">
                  <a:pos x="csX131" y="csY131"/>
                </a:cxn>
                <a:cxn ang="0">
                  <a:pos x="csX132" y="csY132"/>
                </a:cxn>
                <a:cxn ang="0">
                  <a:pos x="csX133" y="csY133"/>
                </a:cxn>
                <a:cxn ang="0">
                  <a:pos x="csX134" y="csY134"/>
                </a:cxn>
                <a:cxn ang="0">
                  <a:pos x="csX135" y="csY135"/>
                </a:cxn>
                <a:cxn ang="0">
                  <a:pos x="csX136" y="csY136"/>
                </a:cxn>
                <a:cxn ang="0">
                  <a:pos x="csX137" y="csY137"/>
                </a:cxn>
                <a:cxn ang="0">
                  <a:pos x="csX138" y="csY138"/>
                </a:cxn>
                <a:cxn ang="0">
                  <a:pos x="csX139" y="csY139"/>
                </a:cxn>
                <a:cxn ang="0">
                  <a:pos x="csX140" y="csY140"/>
                </a:cxn>
                <a:cxn ang="0">
                  <a:pos x="csX141" y="csY141"/>
                </a:cxn>
                <a:cxn ang="0">
                  <a:pos x="csX142" y="csY142"/>
                </a:cxn>
                <a:cxn ang="0">
                  <a:pos x="csX143" y="csY143"/>
                </a:cxn>
                <a:cxn ang="0">
                  <a:pos x="csX144" y="csY144"/>
                </a:cxn>
                <a:cxn ang="0">
                  <a:pos x="csX145" y="csY145"/>
                </a:cxn>
                <a:cxn ang="0">
                  <a:pos x="csX146" y="csY146"/>
                </a:cxn>
                <a:cxn ang="0">
                  <a:pos x="csX147" y="csY147"/>
                </a:cxn>
                <a:cxn ang="0">
                  <a:pos x="csX148" y="csY148"/>
                </a:cxn>
                <a:cxn ang="0">
                  <a:pos x="csX149" y="csY149"/>
                </a:cxn>
                <a:cxn ang="0">
                  <a:pos x="csX150" y="csY150"/>
                </a:cxn>
                <a:cxn ang="0">
                  <a:pos x="csX151" y="csY151"/>
                </a:cxn>
                <a:cxn ang="0">
                  <a:pos x="csX152" y="csY152"/>
                </a:cxn>
                <a:cxn ang="0">
                  <a:pos x="csX153" y="csY153"/>
                </a:cxn>
                <a:cxn ang="0">
                  <a:pos x="csX154" y="csY154"/>
                </a:cxn>
                <a:cxn ang="0">
                  <a:pos x="csX155" y="csY155"/>
                </a:cxn>
                <a:cxn ang="0">
                  <a:pos x="csX156" y="csY156"/>
                </a:cxn>
                <a:cxn ang="0">
                  <a:pos x="csX157" y="csY157"/>
                </a:cxn>
                <a:cxn ang="0">
                  <a:pos x="csX158" y="csY158"/>
                </a:cxn>
                <a:cxn ang="0">
                  <a:pos x="csX159" y="csY159"/>
                </a:cxn>
                <a:cxn ang="0">
                  <a:pos x="csX160" y="csY160"/>
                </a:cxn>
                <a:cxn ang="0">
                  <a:pos x="csX161" y="csY161"/>
                </a:cxn>
                <a:cxn ang="0">
                  <a:pos x="csX162" y="csY162"/>
                </a:cxn>
                <a:cxn ang="0">
                  <a:pos x="csX163" y="csY163"/>
                </a:cxn>
                <a:cxn ang="0">
                  <a:pos x="csX164" y="csY164"/>
                </a:cxn>
                <a:cxn ang="0">
                  <a:pos x="csX165" y="csY165"/>
                </a:cxn>
                <a:cxn ang="0">
                  <a:pos x="csX166" y="csY166"/>
                </a:cxn>
                <a:cxn ang="0">
                  <a:pos x="csX167" y="csY167"/>
                </a:cxn>
                <a:cxn ang="0">
                  <a:pos x="csX168" y="csY168"/>
                </a:cxn>
                <a:cxn ang="0">
                  <a:pos x="csX169" y="csY169"/>
                </a:cxn>
                <a:cxn ang="0">
                  <a:pos x="csX170" y="csY170"/>
                </a:cxn>
                <a:cxn ang="0">
                  <a:pos x="csX171" y="csY171"/>
                </a:cxn>
                <a:cxn ang="0">
                  <a:pos x="csX172" y="csY172"/>
                </a:cxn>
                <a:cxn ang="0">
                  <a:pos x="csX173" y="csY173"/>
                </a:cxn>
                <a:cxn ang="0">
                  <a:pos x="csX174" y="csY174"/>
                </a:cxn>
                <a:cxn ang="0">
                  <a:pos x="csX175" y="csY175"/>
                </a:cxn>
                <a:cxn ang="0">
                  <a:pos x="csX176" y="csY176"/>
                </a:cxn>
                <a:cxn ang="0">
                  <a:pos x="csX177" y="csY177"/>
                </a:cxn>
                <a:cxn ang="0">
                  <a:pos x="csX178" y="csY178"/>
                </a:cxn>
                <a:cxn ang="0">
                  <a:pos x="csX179" y="csY179"/>
                </a:cxn>
                <a:cxn ang="0">
                  <a:pos x="csX180" y="csY180"/>
                </a:cxn>
                <a:cxn ang="0">
                  <a:pos x="csX181" y="csY181"/>
                </a:cxn>
                <a:cxn ang="0">
                  <a:pos x="csX182" y="csY182"/>
                </a:cxn>
                <a:cxn ang="0">
                  <a:pos x="csX183" y="csY183"/>
                </a:cxn>
                <a:cxn ang="0">
                  <a:pos x="csX184" y="csY184"/>
                </a:cxn>
                <a:cxn ang="0">
                  <a:pos x="csX185" y="csY185"/>
                </a:cxn>
                <a:cxn ang="0">
                  <a:pos x="csX186" y="csY186"/>
                </a:cxn>
                <a:cxn ang="0">
                  <a:pos x="csX187" y="csY187"/>
                </a:cxn>
                <a:cxn ang="0">
                  <a:pos x="csX188" y="csY188"/>
                </a:cxn>
                <a:cxn ang="0">
                  <a:pos x="csX189" y="csY189"/>
                </a:cxn>
                <a:cxn ang="0">
                  <a:pos x="csX190" y="csY190"/>
                </a:cxn>
                <a:cxn ang="0">
                  <a:pos x="csX191" y="csY191"/>
                </a:cxn>
                <a:cxn ang="0">
                  <a:pos x="csX192" y="csY192"/>
                </a:cxn>
                <a:cxn ang="0">
                  <a:pos x="csX193" y="csY193"/>
                </a:cxn>
                <a:cxn ang="0">
                  <a:pos x="csX194" y="csY194"/>
                </a:cxn>
                <a:cxn ang="0">
                  <a:pos x="csX195" y="csY195"/>
                </a:cxn>
                <a:cxn ang="0">
                  <a:pos x="csX196" y="csY196"/>
                </a:cxn>
                <a:cxn ang="0">
                  <a:pos x="csX197" y="csY197"/>
                </a:cxn>
                <a:cxn ang="0">
                  <a:pos x="csX198" y="csY198"/>
                </a:cxn>
                <a:cxn ang="0">
                  <a:pos x="csX199" y="csY199"/>
                </a:cxn>
                <a:cxn ang="0">
                  <a:pos x="csX200" y="csY200"/>
                </a:cxn>
                <a:cxn ang="0">
                  <a:pos x="csX201" y="csY201"/>
                </a:cxn>
                <a:cxn ang="0">
                  <a:pos x="csX202" y="csY202"/>
                </a:cxn>
                <a:cxn ang="0">
                  <a:pos x="csX203" y="csY203"/>
                </a:cxn>
                <a:cxn ang="0">
                  <a:pos x="csX204" y="csY204"/>
                </a:cxn>
                <a:cxn ang="0">
                  <a:pos x="csX205" y="csY205"/>
                </a:cxn>
                <a:cxn ang="0">
                  <a:pos x="csX206" y="csY206"/>
                </a:cxn>
                <a:cxn ang="0">
                  <a:pos x="csX207" y="csY207"/>
                </a:cxn>
                <a:cxn ang="0">
                  <a:pos x="csX208" y="csY208"/>
                </a:cxn>
                <a:cxn ang="0">
                  <a:pos x="csX209" y="csY209"/>
                </a:cxn>
                <a:cxn ang="0">
                  <a:pos x="csX210" y="csY210"/>
                </a:cxn>
                <a:cxn ang="0">
                  <a:pos x="csX211" y="csY211"/>
                </a:cxn>
                <a:cxn ang="0">
                  <a:pos x="csX212" y="csY212"/>
                </a:cxn>
                <a:cxn ang="0">
                  <a:pos x="csX213" y="csY213"/>
                </a:cxn>
                <a:cxn ang="0">
                  <a:pos x="csX214" y="csY214"/>
                </a:cxn>
                <a:cxn ang="0">
                  <a:pos x="csX215" y="csY215"/>
                </a:cxn>
                <a:cxn ang="0">
                  <a:pos x="csX216" y="csY216"/>
                </a:cxn>
                <a:cxn ang="0">
                  <a:pos x="csX217" y="csY217"/>
                </a:cxn>
                <a:cxn ang="0">
                  <a:pos x="csX218" y="csY218"/>
                </a:cxn>
                <a:cxn ang="0">
                  <a:pos x="csX219" y="csY219"/>
                </a:cxn>
                <a:cxn ang="0">
                  <a:pos x="csX220" y="csY220"/>
                </a:cxn>
                <a:cxn ang="0">
                  <a:pos x="csX221" y="csY221"/>
                </a:cxn>
                <a:cxn ang="0">
                  <a:pos x="csX222" y="csY222"/>
                </a:cxn>
                <a:cxn ang="0">
                  <a:pos x="csX223" y="csY223"/>
                </a:cxn>
                <a:cxn ang="0">
                  <a:pos x="csX224" y="csY224"/>
                </a:cxn>
                <a:cxn ang="0">
                  <a:pos x="csX225" y="csY225"/>
                </a:cxn>
                <a:cxn ang="0">
                  <a:pos x="csX226" y="csY226"/>
                </a:cxn>
                <a:cxn ang="0">
                  <a:pos x="csX227" y="csY227"/>
                </a:cxn>
                <a:cxn ang="0">
                  <a:pos x="csX228" y="csY228"/>
                </a:cxn>
                <a:cxn ang="0">
                  <a:pos x="csX229" y="csY229"/>
                </a:cxn>
                <a:cxn ang="0">
                  <a:pos x="csX230" y="csY230"/>
                </a:cxn>
                <a:cxn ang="0">
                  <a:pos x="csX231" y="csY231"/>
                </a:cxn>
                <a:cxn ang="0">
                  <a:pos x="csX232" y="csY232"/>
                </a:cxn>
                <a:cxn ang="0">
                  <a:pos x="csX233" y="csY233"/>
                </a:cxn>
                <a:cxn ang="0">
                  <a:pos x="csX234" y="csY234"/>
                </a:cxn>
                <a:cxn ang="0">
                  <a:pos x="csX235" y="csY235"/>
                </a:cxn>
                <a:cxn ang="0">
                  <a:pos x="csX236" y="csY236"/>
                </a:cxn>
                <a:cxn ang="0">
                  <a:pos x="csX237" y="csY237"/>
                </a:cxn>
                <a:cxn ang="0">
                  <a:pos x="csX238" y="csY238"/>
                </a:cxn>
                <a:cxn ang="0">
                  <a:pos x="csX239" y="csY239"/>
                </a:cxn>
                <a:cxn ang="0">
                  <a:pos x="csX240" y="csY240"/>
                </a:cxn>
                <a:cxn ang="0">
                  <a:pos x="csX241" y="csY241"/>
                </a:cxn>
                <a:cxn ang="0">
                  <a:pos x="csX242" y="csY242"/>
                </a:cxn>
                <a:cxn ang="0">
                  <a:pos x="csX243" y="csY243"/>
                </a:cxn>
                <a:cxn ang="0">
                  <a:pos x="csX244" y="csY244"/>
                </a:cxn>
                <a:cxn ang="0">
                  <a:pos x="csX245" y="csY245"/>
                </a:cxn>
                <a:cxn ang="0">
                  <a:pos x="csX246" y="csY246"/>
                </a:cxn>
                <a:cxn ang="0">
                  <a:pos x="csX247" y="csY247"/>
                </a:cxn>
                <a:cxn ang="0">
                  <a:pos x="csX248" y="csY248"/>
                </a:cxn>
                <a:cxn ang="0">
                  <a:pos x="csX249" y="csY249"/>
                </a:cxn>
                <a:cxn ang="0">
                  <a:pos x="csX250" y="csY250"/>
                </a:cxn>
                <a:cxn ang="0">
                  <a:pos x="csX251" y="csY251"/>
                </a:cxn>
                <a:cxn ang="0">
                  <a:pos x="csX252" y="csY252"/>
                </a:cxn>
                <a:cxn ang="0">
                  <a:pos x="csX253" y="csY253"/>
                </a:cxn>
                <a:cxn ang="0">
                  <a:pos x="csX254" y="csY254"/>
                </a:cxn>
                <a:cxn ang="0">
                  <a:pos x="csX255" y="csY255"/>
                </a:cxn>
                <a:cxn ang="0">
                  <a:pos x="csX256" y="csY256"/>
                </a:cxn>
                <a:cxn ang="0">
                  <a:pos x="csX257" y="csY257"/>
                </a:cxn>
                <a:cxn ang="0">
                  <a:pos x="csX258" y="csY258"/>
                </a:cxn>
                <a:cxn ang="0">
                  <a:pos x="csX259" y="csY259"/>
                </a:cxn>
                <a:cxn ang="0">
                  <a:pos x="csX260" y="csY260"/>
                </a:cxn>
                <a:cxn ang="0">
                  <a:pos x="csX261" y="csY261"/>
                </a:cxn>
                <a:cxn ang="0">
                  <a:pos x="csX262" y="csY262"/>
                </a:cxn>
                <a:cxn ang="0">
                  <a:pos x="csX263" y="csY263"/>
                </a:cxn>
                <a:cxn ang="0">
                  <a:pos x="csX264" y="csY264"/>
                </a:cxn>
                <a:cxn ang="0">
                  <a:pos x="csX265" y="csY265"/>
                </a:cxn>
                <a:cxn ang="0">
                  <a:pos x="csX266" y="csY266"/>
                </a:cxn>
                <a:cxn ang="0">
                  <a:pos x="csX267" y="csY267"/>
                </a:cxn>
                <a:cxn ang="0">
                  <a:pos x="csX268" y="csY268"/>
                </a:cxn>
                <a:cxn ang="0">
                  <a:pos x="csX269" y="csY269"/>
                </a:cxn>
                <a:cxn ang="0">
                  <a:pos x="csX270" y="csY270"/>
                </a:cxn>
                <a:cxn ang="0">
                  <a:pos x="csX271" y="csY271"/>
                </a:cxn>
                <a:cxn ang="0">
                  <a:pos x="csX272" y="csY272"/>
                </a:cxn>
                <a:cxn ang="0">
                  <a:pos x="csX273" y="csY273"/>
                </a:cxn>
                <a:cxn ang="0">
                  <a:pos x="csX274" y="csY274"/>
                </a:cxn>
                <a:cxn ang="0">
                  <a:pos x="csX275" y="csY275"/>
                </a:cxn>
                <a:cxn ang="0">
                  <a:pos x="csX276" y="csY276"/>
                </a:cxn>
                <a:cxn ang="0">
                  <a:pos x="csX277" y="csY277"/>
                </a:cxn>
                <a:cxn ang="0">
                  <a:pos x="csX278" y="csY278"/>
                </a:cxn>
                <a:cxn ang="0">
                  <a:pos x="csX279" y="csY279"/>
                </a:cxn>
                <a:cxn ang="0">
                  <a:pos x="csX280" y="csY280"/>
                </a:cxn>
                <a:cxn ang="0">
                  <a:pos x="csX281" y="csY281"/>
                </a:cxn>
                <a:cxn ang="0">
                  <a:pos x="csX282" y="csY282"/>
                </a:cxn>
                <a:cxn ang="0">
                  <a:pos x="csX283" y="csY283"/>
                </a:cxn>
                <a:cxn ang="0">
                  <a:pos x="csX284" y="csY284"/>
                </a:cxn>
                <a:cxn ang="0">
                  <a:pos x="csX285" y="csY285"/>
                </a:cxn>
                <a:cxn ang="0">
                  <a:pos x="csX286" y="csY286"/>
                </a:cxn>
                <a:cxn ang="0">
                  <a:pos x="csX287" y="csY287"/>
                </a:cxn>
                <a:cxn ang="0">
                  <a:pos x="csX288" y="csY288"/>
                </a:cxn>
                <a:cxn ang="0">
                  <a:pos x="csX289" y="csY289"/>
                </a:cxn>
                <a:cxn ang="0">
                  <a:pos x="csX290" y="csY290"/>
                </a:cxn>
                <a:cxn ang="0">
                  <a:pos x="csX291" y="csY291"/>
                </a:cxn>
                <a:cxn ang="0">
                  <a:pos x="csX292" y="csY292"/>
                </a:cxn>
                <a:cxn ang="0">
                  <a:pos x="csX293" y="csY293"/>
                </a:cxn>
                <a:cxn ang="0">
                  <a:pos x="csX294" y="csY294"/>
                </a:cxn>
                <a:cxn ang="0">
                  <a:pos x="csX295" y="csY295"/>
                </a:cxn>
                <a:cxn ang="0">
                  <a:pos x="csX296" y="csY296"/>
                </a:cxn>
                <a:cxn ang="0">
                  <a:pos x="csX297" y="csY297"/>
                </a:cxn>
                <a:cxn ang="0">
                  <a:pos x="csX298" y="csY298"/>
                </a:cxn>
                <a:cxn ang="0">
                  <a:pos x="csX299" y="csY299"/>
                </a:cxn>
                <a:cxn ang="0">
                  <a:pos x="csX300" y="csY300"/>
                </a:cxn>
                <a:cxn ang="0">
                  <a:pos x="csX301" y="csY301"/>
                </a:cxn>
                <a:cxn ang="0">
                  <a:pos x="csX302" y="csY302"/>
                </a:cxn>
                <a:cxn ang="0">
                  <a:pos x="csX303" y="csY303"/>
                </a:cxn>
                <a:cxn ang="0">
                  <a:pos x="csX304" y="csY304"/>
                </a:cxn>
                <a:cxn ang="0">
                  <a:pos x="csX305" y="csY305"/>
                </a:cxn>
                <a:cxn ang="0">
                  <a:pos x="csX306" y="csY306"/>
                </a:cxn>
                <a:cxn ang="0">
                  <a:pos x="csX307" y="csY307"/>
                </a:cxn>
                <a:cxn ang="0">
                  <a:pos x="csX308" y="csY308"/>
                </a:cxn>
                <a:cxn ang="0">
                  <a:pos x="csX309" y="csY309"/>
                </a:cxn>
                <a:cxn ang="0">
                  <a:pos x="csX310" y="csY310"/>
                </a:cxn>
                <a:cxn ang="0">
                  <a:pos x="csX311" y="csY311"/>
                </a:cxn>
                <a:cxn ang="0">
                  <a:pos x="csX312" y="csY312"/>
                </a:cxn>
                <a:cxn ang="0">
                  <a:pos x="csX313" y="csY313"/>
                </a:cxn>
                <a:cxn ang="0">
                  <a:pos x="csX314" y="csY314"/>
                </a:cxn>
                <a:cxn ang="0">
                  <a:pos x="csX315" y="csY315"/>
                </a:cxn>
                <a:cxn ang="0">
                  <a:pos x="csX316" y="csY316"/>
                </a:cxn>
                <a:cxn ang="0">
                  <a:pos x="csX317" y="csY317"/>
                </a:cxn>
                <a:cxn ang="0">
                  <a:pos x="csX318" y="csY318"/>
                </a:cxn>
                <a:cxn ang="0">
                  <a:pos x="csX319" y="csY319"/>
                </a:cxn>
                <a:cxn ang="0">
                  <a:pos x="csX320" y="csY320"/>
                </a:cxn>
                <a:cxn ang="0">
                  <a:pos x="csX321" y="csY321"/>
                </a:cxn>
                <a:cxn ang="0">
                  <a:pos x="csX322" y="csY322"/>
                </a:cxn>
                <a:cxn ang="0">
                  <a:pos x="csX323" y="csY323"/>
                </a:cxn>
                <a:cxn ang="0">
                  <a:pos x="csX324" y="csY324"/>
                </a:cxn>
                <a:cxn ang="0">
                  <a:pos x="csX325" y="csY325"/>
                </a:cxn>
                <a:cxn ang="0">
                  <a:pos x="csX326" y="csY326"/>
                </a:cxn>
                <a:cxn ang="0">
                  <a:pos x="csX327" y="csY327"/>
                </a:cxn>
                <a:cxn ang="0">
                  <a:pos x="csX328" y="csY328"/>
                </a:cxn>
                <a:cxn ang="0">
                  <a:pos x="csX329" y="csY329"/>
                </a:cxn>
                <a:cxn ang="0">
                  <a:pos x="csX330" y="csY330"/>
                </a:cxn>
                <a:cxn ang="0">
                  <a:pos x="csX331" y="csY331"/>
                </a:cxn>
                <a:cxn ang="0">
                  <a:pos x="csX332" y="csY332"/>
                </a:cxn>
                <a:cxn ang="0">
                  <a:pos x="csX333" y="csY333"/>
                </a:cxn>
                <a:cxn ang="0">
                  <a:pos x="csX334" y="csY334"/>
                </a:cxn>
                <a:cxn ang="0">
                  <a:pos x="csX335" y="csY335"/>
                </a:cxn>
                <a:cxn ang="0">
                  <a:pos x="csX336" y="csY336"/>
                </a:cxn>
                <a:cxn ang="0">
                  <a:pos x="csX337" y="csY337"/>
                </a:cxn>
                <a:cxn ang="0">
                  <a:pos x="csX338" y="csY338"/>
                </a:cxn>
                <a:cxn ang="0">
                  <a:pos x="csX339" y="csY339"/>
                </a:cxn>
                <a:cxn ang="0">
                  <a:pos x="csX340" y="csY340"/>
                </a:cxn>
                <a:cxn ang="0">
                  <a:pos x="csX341" y="csY341"/>
                </a:cxn>
                <a:cxn ang="0">
                  <a:pos x="csX342" y="csY342"/>
                </a:cxn>
                <a:cxn ang="0">
                  <a:pos x="csX343" y="csY343"/>
                </a:cxn>
                <a:cxn ang="0">
                  <a:pos x="csX344" y="csY344"/>
                </a:cxn>
                <a:cxn ang="0">
                  <a:pos x="csX345" y="csY345"/>
                </a:cxn>
                <a:cxn ang="0">
                  <a:pos x="csX346" y="csY346"/>
                </a:cxn>
                <a:cxn ang="0">
                  <a:pos x="csX347" y="csY347"/>
                </a:cxn>
                <a:cxn ang="0">
                  <a:pos x="csX348" y="csY348"/>
                </a:cxn>
                <a:cxn ang="0">
                  <a:pos x="csX349" y="csY349"/>
                </a:cxn>
                <a:cxn ang="0">
                  <a:pos x="csX350" y="csY350"/>
                </a:cxn>
                <a:cxn ang="0">
                  <a:pos x="csX351" y="csY351"/>
                </a:cxn>
                <a:cxn ang="0">
                  <a:pos x="csX352" y="csY352"/>
                </a:cxn>
                <a:cxn ang="0">
                  <a:pos x="csX353" y="csY353"/>
                </a:cxn>
                <a:cxn ang="0">
                  <a:pos x="csX354" y="csY354"/>
                </a:cxn>
                <a:cxn ang="0">
                  <a:pos x="csX355" y="csY355"/>
                </a:cxn>
                <a:cxn ang="0">
                  <a:pos x="csX356" y="csY356"/>
                </a:cxn>
                <a:cxn ang="0">
                  <a:pos x="csX357" y="csY357"/>
                </a:cxn>
                <a:cxn ang="0">
                  <a:pos x="csX358" y="csY358"/>
                </a:cxn>
                <a:cxn ang="0">
                  <a:pos x="csX359" y="csY359"/>
                </a:cxn>
                <a:cxn ang="0">
                  <a:pos x="csX360" y="csY360"/>
                </a:cxn>
                <a:cxn ang="0">
                  <a:pos x="csX361" y="csY361"/>
                </a:cxn>
                <a:cxn ang="0">
                  <a:pos x="csX362" y="csY362"/>
                </a:cxn>
                <a:cxn ang="0">
                  <a:pos x="csX363" y="csY363"/>
                </a:cxn>
                <a:cxn ang="0">
                  <a:pos x="csX364" y="csY364"/>
                </a:cxn>
                <a:cxn ang="0">
                  <a:pos x="csX365" y="csY365"/>
                </a:cxn>
                <a:cxn ang="0">
                  <a:pos x="csX366" y="csY366"/>
                </a:cxn>
                <a:cxn ang="0">
                  <a:pos x="csX367" y="csY367"/>
                </a:cxn>
                <a:cxn ang="0">
                  <a:pos x="csX368" y="csY368"/>
                </a:cxn>
                <a:cxn ang="0">
                  <a:pos x="csX369" y="csY369"/>
                </a:cxn>
                <a:cxn ang="0">
                  <a:pos x="csX370" y="csY370"/>
                </a:cxn>
                <a:cxn ang="0">
                  <a:pos x="csX371" y="csY371"/>
                </a:cxn>
                <a:cxn ang="0">
                  <a:pos x="csX372" y="csY372"/>
                </a:cxn>
                <a:cxn ang="0">
                  <a:pos x="csX373" y="csY373"/>
                </a:cxn>
                <a:cxn ang="0">
                  <a:pos x="csX374" y="csY374"/>
                </a:cxn>
                <a:cxn ang="0">
                  <a:pos x="csX375" y="csY375"/>
                </a:cxn>
                <a:cxn ang="0">
                  <a:pos x="csX376" y="csY376"/>
                </a:cxn>
                <a:cxn ang="0">
                  <a:pos x="csX377" y="csY377"/>
                </a:cxn>
                <a:cxn ang="0">
                  <a:pos x="csX378" y="csY378"/>
                </a:cxn>
                <a:cxn ang="0">
                  <a:pos x="csX379" y="csY379"/>
                </a:cxn>
                <a:cxn ang="0">
                  <a:pos x="csX380" y="csY380"/>
                </a:cxn>
                <a:cxn ang="0">
                  <a:pos x="csX381" y="csY381"/>
                </a:cxn>
                <a:cxn ang="0">
                  <a:pos x="csX382" y="csY382"/>
                </a:cxn>
                <a:cxn ang="0">
                  <a:pos x="csX383" y="csY383"/>
                </a:cxn>
                <a:cxn ang="0">
                  <a:pos x="csX384" y="csY384"/>
                </a:cxn>
                <a:cxn ang="0">
                  <a:pos x="csX385" y="csY385"/>
                </a:cxn>
                <a:cxn ang="0">
                  <a:pos x="csX386" y="csY386"/>
                </a:cxn>
                <a:cxn ang="0">
                  <a:pos x="csX387" y="csY387"/>
                </a:cxn>
                <a:cxn ang="0">
                  <a:pos x="csX388" y="csY388"/>
                </a:cxn>
                <a:cxn ang="0">
                  <a:pos x="csX389" y="csY389"/>
                </a:cxn>
                <a:cxn ang="0">
                  <a:pos x="csX390" y="csY390"/>
                </a:cxn>
                <a:cxn ang="0">
                  <a:pos x="csX391" y="csY391"/>
                </a:cxn>
                <a:cxn ang="0">
                  <a:pos x="csX392" y="csY392"/>
                </a:cxn>
                <a:cxn ang="0">
                  <a:pos x="csX393" y="csY393"/>
                </a:cxn>
                <a:cxn ang="0">
                  <a:pos x="csX394" y="csY394"/>
                </a:cxn>
                <a:cxn ang="0">
                  <a:pos x="csX395" y="csY395"/>
                </a:cxn>
                <a:cxn ang="0">
                  <a:pos x="csX396" y="csY396"/>
                </a:cxn>
                <a:cxn ang="0">
                  <a:pos x="csX397" y="csY397"/>
                </a:cxn>
                <a:cxn ang="0">
                  <a:pos x="csX398" y="csY398"/>
                </a:cxn>
                <a:cxn ang="0">
                  <a:pos x="csX399" y="csY399"/>
                </a:cxn>
                <a:cxn ang="0">
                  <a:pos x="csX400" y="csY400"/>
                </a:cxn>
                <a:cxn ang="0">
                  <a:pos x="csX401" y="csY401"/>
                </a:cxn>
                <a:cxn ang="0">
                  <a:pos x="csX402" y="csY402"/>
                </a:cxn>
                <a:cxn ang="0">
                  <a:pos x="csX403" y="csY403"/>
                </a:cxn>
                <a:cxn ang="0">
                  <a:pos x="csX404" y="csY404"/>
                </a:cxn>
                <a:cxn ang="0">
                  <a:pos x="csX405" y="csY405"/>
                </a:cxn>
                <a:cxn ang="0">
                  <a:pos x="csX406" y="csY406"/>
                </a:cxn>
                <a:cxn ang="0">
                  <a:pos x="csX407" y="csY407"/>
                </a:cxn>
                <a:cxn ang="0">
                  <a:pos x="csX408" y="csY408"/>
                </a:cxn>
                <a:cxn ang="0">
                  <a:pos x="csX409" y="csY409"/>
                </a:cxn>
                <a:cxn ang="0">
                  <a:pos x="csX410" y="csY410"/>
                </a:cxn>
                <a:cxn ang="0">
                  <a:pos x="csX411" y="csY411"/>
                </a:cxn>
                <a:cxn ang="0">
                  <a:pos x="csX412" y="csY412"/>
                </a:cxn>
                <a:cxn ang="0">
                  <a:pos x="csX413" y="csY413"/>
                </a:cxn>
                <a:cxn ang="0">
                  <a:pos x="csX414" y="csY414"/>
                </a:cxn>
                <a:cxn ang="0">
                  <a:pos x="csX415" y="csY415"/>
                </a:cxn>
                <a:cxn ang="0">
                  <a:pos x="csX416" y="csY416"/>
                </a:cxn>
                <a:cxn ang="0">
                  <a:pos x="csX417" y="csY417"/>
                </a:cxn>
                <a:cxn ang="0">
                  <a:pos x="csX418" y="csY418"/>
                </a:cxn>
                <a:cxn ang="0">
                  <a:pos x="csX419" y="csY419"/>
                </a:cxn>
                <a:cxn ang="0">
                  <a:pos x="csX420" y="csY420"/>
                </a:cxn>
                <a:cxn ang="0">
                  <a:pos x="csX421" y="csY421"/>
                </a:cxn>
                <a:cxn ang="0">
                  <a:pos x="csX422" y="csY422"/>
                </a:cxn>
                <a:cxn ang="0">
                  <a:pos x="csX423" y="csY423"/>
                </a:cxn>
                <a:cxn ang="0">
                  <a:pos x="csX424" y="csY424"/>
                </a:cxn>
                <a:cxn ang="0">
                  <a:pos x="csX425" y="csY425"/>
                </a:cxn>
                <a:cxn ang="0">
                  <a:pos x="csX426" y="csY426"/>
                </a:cxn>
                <a:cxn ang="0">
                  <a:pos x="csX427" y="csY427"/>
                </a:cxn>
                <a:cxn ang="0">
                  <a:pos x="csX428" y="csY428"/>
                </a:cxn>
                <a:cxn ang="0">
                  <a:pos x="csX429" y="csY429"/>
                </a:cxn>
                <a:cxn ang="0">
                  <a:pos x="csX430" y="csY430"/>
                </a:cxn>
                <a:cxn ang="0">
                  <a:pos x="csX431" y="csY431"/>
                </a:cxn>
                <a:cxn ang="0">
                  <a:pos x="csX432" y="csY432"/>
                </a:cxn>
                <a:cxn ang="0">
                  <a:pos x="csX433" y="csY433"/>
                </a:cxn>
                <a:cxn ang="0">
                  <a:pos x="csX434" y="csY434"/>
                </a:cxn>
                <a:cxn ang="0">
                  <a:pos x="csX435" y="csY435"/>
                </a:cxn>
                <a:cxn ang="0">
                  <a:pos x="csX436" y="csY436"/>
                </a:cxn>
                <a:cxn ang="0">
                  <a:pos x="csX437" y="csY437"/>
                </a:cxn>
                <a:cxn ang="0">
                  <a:pos x="csX438" y="csY438"/>
                </a:cxn>
                <a:cxn ang="0">
                  <a:pos x="csX439" y="csY439"/>
                </a:cxn>
                <a:cxn ang="0">
                  <a:pos x="csX440" y="csY440"/>
                </a:cxn>
                <a:cxn ang="0">
                  <a:pos x="csX441" y="csY441"/>
                </a:cxn>
                <a:cxn ang="0">
                  <a:pos x="csX442" y="csY442"/>
                </a:cxn>
                <a:cxn ang="0">
                  <a:pos x="csX443" y="csY443"/>
                </a:cxn>
                <a:cxn ang="0">
                  <a:pos x="csX444" y="csY444"/>
                </a:cxn>
                <a:cxn ang="0">
                  <a:pos x="csX445" y="csY445"/>
                </a:cxn>
                <a:cxn ang="0">
                  <a:pos x="csX446" y="csY446"/>
                </a:cxn>
                <a:cxn ang="0">
                  <a:pos x="csX447" y="csY447"/>
                </a:cxn>
                <a:cxn ang="0">
                  <a:pos x="csX448" y="csY448"/>
                </a:cxn>
                <a:cxn ang="0">
                  <a:pos x="csX449" y="csY449"/>
                </a:cxn>
                <a:cxn ang="0">
                  <a:pos x="csX450" y="csY450"/>
                </a:cxn>
                <a:cxn ang="0">
                  <a:pos x="csX451" y="csY451"/>
                </a:cxn>
                <a:cxn ang="0">
                  <a:pos x="csX452" y="csY452"/>
                </a:cxn>
                <a:cxn ang="0">
                  <a:pos x="csX453" y="csY453"/>
                </a:cxn>
                <a:cxn ang="0">
                  <a:pos x="csX454" y="csY454"/>
                </a:cxn>
                <a:cxn ang="0">
                  <a:pos x="csX455" y="csY455"/>
                </a:cxn>
                <a:cxn ang="0">
                  <a:pos x="csX456" y="csY456"/>
                </a:cxn>
                <a:cxn ang="0">
                  <a:pos x="csX457" y="csY457"/>
                </a:cxn>
                <a:cxn ang="0">
                  <a:pos x="csX458" y="csY458"/>
                </a:cxn>
                <a:cxn ang="0">
                  <a:pos x="csX459" y="csY459"/>
                </a:cxn>
                <a:cxn ang="0">
                  <a:pos x="csX460" y="csY460"/>
                </a:cxn>
                <a:cxn ang="0">
                  <a:pos x="csX461" y="csY461"/>
                </a:cxn>
                <a:cxn ang="0">
                  <a:pos x="csX462" y="csY462"/>
                </a:cxn>
                <a:cxn ang="0">
                  <a:pos x="csX463" y="csY463"/>
                </a:cxn>
                <a:cxn ang="0">
                  <a:pos x="csX464" y="csY464"/>
                </a:cxn>
                <a:cxn ang="0">
                  <a:pos x="csX465" y="csY465"/>
                </a:cxn>
                <a:cxn ang="0">
                  <a:pos x="csX466" y="csY466"/>
                </a:cxn>
                <a:cxn ang="0">
                  <a:pos x="csX467" y="csY467"/>
                </a:cxn>
                <a:cxn ang="0">
                  <a:pos x="csX468" y="csY468"/>
                </a:cxn>
                <a:cxn ang="0">
                  <a:pos x="csX469" y="csY469"/>
                </a:cxn>
                <a:cxn ang="0">
                  <a:pos x="csX470" y="csY470"/>
                </a:cxn>
                <a:cxn ang="0">
                  <a:pos x="csX471" y="csY471"/>
                </a:cxn>
                <a:cxn ang="0">
                  <a:pos x="csX472" y="csY472"/>
                </a:cxn>
                <a:cxn ang="0">
                  <a:pos x="csX473" y="csY473"/>
                </a:cxn>
                <a:cxn ang="0">
                  <a:pos x="csX474" y="csY474"/>
                </a:cxn>
                <a:cxn ang="0">
                  <a:pos x="csX475" y="csY475"/>
                </a:cxn>
                <a:cxn ang="0">
                  <a:pos x="csX476" y="csY476"/>
                </a:cxn>
                <a:cxn ang="0">
                  <a:pos x="csX477" y="csY477"/>
                </a:cxn>
                <a:cxn ang="0">
                  <a:pos x="csX478" y="csY478"/>
                </a:cxn>
                <a:cxn ang="0">
                  <a:pos x="csX479" y="csY479"/>
                </a:cxn>
                <a:cxn ang="0">
                  <a:pos x="csX480" y="csY480"/>
                </a:cxn>
                <a:cxn ang="0">
                  <a:pos x="csX481" y="csY481"/>
                </a:cxn>
                <a:cxn ang="0">
                  <a:pos x="csX482" y="csY482"/>
                </a:cxn>
                <a:cxn ang="0">
                  <a:pos x="csX483" y="csY483"/>
                </a:cxn>
                <a:cxn ang="0">
                  <a:pos x="csX484" y="csY484"/>
                </a:cxn>
                <a:cxn ang="0">
                  <a:pos x="csX485" y="csY485"/>
                </a:cxn>
                <a:cxn ang="0">
                  <a:pos x="csX486" y="csY486"/>
                </a:cxn>
                <a:cxn ang="0">
                  <a:pos x="csX487" y="csY487"/>
                </a:cxn>
                <a:cxn ang="0">
                  <a:pos x="csX488" y="csY488"/>
                </a:cxn>
                <a:cxn ang="0">
                  <a:pos x="csX489" y="csY489"/>
                </a:cxn>
                <a:cxn ang="0">
                  <a:pos x="csX490" y="csY490"/>
                </a:cxn>
                <a:cxn ang="0">
                  <a:pos x="csX491" y="csY491"/>
                </a:cxn>
                <a:cxn ang="0">
                  <a:pos x="csX492" y="csY492"/>
                </a:cxn>
                <a:cxn ang="0">
                  <a:pos x="csX493" y="csY493"/>
                </a:cxn>
                <a:cxn ang="0">
                  <a:pos x="csX494" y="csY494"/>
                </a:cxn>
                <a:cxn ang="0">
                  <a:pos x="csX495" y="csY495"/>
                </a:cxn>
                <a:cxn ang="0">
                  <a:pos x="csX496" y="csY496"/>
                </a:cxn>
                <a:cxn ang="0">
                  <a:pos x="csX497" y="csY497"/>
                </a:cxn>
                <a:cxn ang="0">
                  <a:pos x="csX498" y="csY498"/>
                </a:cxn>
                <a:cxn ang="0">
                  <a:pos x="csX499" y="csY499"/>
                </a:cxn>
                <a:cxn ang="0">
                  <a:pos x="csX500" y="csY500"/>
                </a:cxn>
                <a:cxn ang="0">
                  <a:pos x="csX501" y="csY501"/>
                </a:cxn>
                <a:cxn ang="0">
                  <a:pos x="csX502" y="csY502"/>
                </a:cxn>
                <a:cxn ang="0">
                  <a:pos x="csX503" y="csY503"/>
                </a:cxn>
                <a:cxn ang="0">
                  <a:pos x="csX504" y="csY504"/>
                </a:cxn>
                <a:cxn ang="0">
                  <a:pos x="csX505" y="csY505"/>
                </a:cxn>
                <a:cxn ang="0">
                  <a:pos x="csX506" y="csY506"/>
                </a:cxn>
                <a:cxn ang="0">
                  <a:pos x="csX507" y="csY507"/>
                </a:cxn>
                <a:cxn ang="0">
                  <a:pos x="csX508" y="csY508"/>
                </a:cxn>
                <a:cxn ang="0">
                  <a:pos x="csX509" y="csY509"/>
                </a:cxn>
                <a:cxn ang="0">
                  <a:pos x="csX510" y="csY510"/>
                </a:cxn>
                <a:cxn ang="0">
                  <a:pos x="csX511" y="csY511"/>
                </a:cxn>
                <a:cxn ang="0">
                  <a:pos x="csX512" y="csY512"/>
                </a:cxn>
                <a:cxn ang="0">
                  <a:pos x="csX513" y="csY513"/>
                </a:cxn>
                <a:cxn ang="0">
                  <a:pos x="csX514" y="csY514"/>
                </a:cxn>
                <a:cxn ang="0">
                  <a:pos x="csX515" y="csY515"/>
                </a:cxn>
                <a:cxn ang="0">
                  <a:pos x="csX516" y="csY516"/>
                </a:cxn>
                <a:cxn ang="0">
                  <a:pos x="csX517" y="csY517"/>
                </a:cxn>
                <a:cxn ang="0">
                  <a:pos x="csX518" y="csY518"/>
                </a:cxn>
                <a:cxn ang="0">
                  <a:pos x="csX519" y="csY519"/>
                </a:cxn>
                <a:cxn ang="0">
                  <a:pos x="csX520" y="csY520"/>
                </a:cxn>
                <a:cxn ang="0">
                  <a:pos x="csX521" y="csY521"/>
                </a:cxn>
                <a:cxn ang="0">
                  <a:pos x="csX522" y="csY522"/>
                </a:cxn>
                <a:cxn ang="0">
                  <a:pos x="csX523" y="csY523"/>
                </a:cxn>
                <a:cxn ang="0">
                  <a:pos x="csX524" y="csY524"/>
                </a:cxn>
                <a:cxn ang="0">
                  <a:pos x="csX525" y="csY525"/>
                </a:cxn>
                <a:cxn ang="0">
                  <a:pos x="csX526" y="csY526"/>
                </a:cxn>
                <a:cxn ang="0">
                  <a:pos x="csX527" y="csY527"/>
                </a:cxn>
                <a:cxn ang="0">
                  <a:pos x="csX528" y="csY528"/>
                </a:cxn>
                <a:cxn ang="0">
                  <a:pos x="csX529" y="csY529"/>
                </a:cxn>
                <a:cxn ang="0">
                  <a:pos x="csX530" y="csY530"/>
                </a:cxn>
                <a:cxn ang="0">
                  <a:pos x="csX531" y="csY531"/>
                </a:cxn>
                <a:cxn ang="0">
                  <a:pos x="csX532" y="csY532"/>
                </a:cxn>
                <a:cxn ang="0">
                  <a:pos x="csX533" y="csY533"/>
                </a:cxn>
                <a:cxn ang="0">
                  <a:pos x="csX534" y="csY534"/>
                </a:cxn>
                <a:cxn ang="0">
                  <a:pos x="csX535" y="csY535"/>
                </a:cxn>
                <a:cxn ang="0">
                  <a:pos x="csX536" y="csY536"/>
                </a:cxn>
                <a:cxn ang="0">
                  <a:pos x="csX537" y="csY537"/>
                </a:cxn>
                <a:cxn ang="0">
                  <a:pos x="csX538" y="csY538"/>
                </a:cxn>
                <a:cxn ang="0">
                  <a:pos x="csX539" y="csY539"/>
                </a:cxn>
                <a:cxn ang="0">
                  <a:pos x="csX540" y="csY540"/>
                </a:cxn>
                <a:cxn ang="0">
                  <a:pos x="csX541" y="csY541"/>
                </a:cxn>
                <a:cxn ang="0">
                  <a:pos x="csX542" y="csY542"/>
                </a:cxn>
                <a:cxn ang="0">
                  <a:pos x="csX543" y="csY543"/>
                </a:cxn>
                <a:cxn ang="0">
                  <a:pos x="csX544" y="csY544"/>
                </a:cxn>
                <a:cxn ang="0">
                  <a:pos x="csX545" y="csY545"/>
                </a:cxn>
                <a:cxn ang="0">
                  <a:pos x="csX546" y="csY546"/>
                </a:cxn>
                <a:cxn ang="0">
                  <a:pos x="csX547" y="csY547"/>
                </a:cxn>
                <a:cxn ang="0">
                  <a:pos x="csX548" y="csY548"/>
                </a:cxn>
                <a:cxn ang="0">
                  <a:pos x="csX549" y="csY549"/>
                </a:cxn>
                <a:cxn ang="0">
                  <a:pos x="csX550" y="csY550"/>
                </a:cxn>
                <a:cxn ang="0">
                  <a:pos x="csX551" y="csY551"/>
                </a:cxn>
                <a:cxn ang="0">
                  <a:pos x="csX552" y="csY552"/>
                </a:cxn>
                <a:cxn ang="0">
                  <a:pos x="csX553" y="csY553"/>
                </a:cxn>
                <a:cxn ang="0">
                  <a:pos x="csX554" y="csY554"/>
                </a:cxn>
                <a:cxn ang="0">
                  <a:pos x="csX555" y="csY555"/>
                </a:cxn>
                <a:cxn ang="0">
                  <a:pos x="csX556" y="csY556"/>
                </a:cxn>
                <a:cxn ang="0">
                  <a:pos x="csX557" y="csY557"/>
                </a:cxn>
                <a:cxn ang="0">
                  <a:pos x="csX558" y="csY558"/>
                </a:cxn>
                <a:cxn ang="0">
                  <a:pos x="csX559" y="csY559"/>
                </a:cxn>
                <a:cxn ang="0">
                  <a:pos x="csX560" y="csY560"/>
                </a:cxn>
                <a:cxn ang="0">
                  <a:pos x="csX561" y="csY561"/>
                </a:cxn>
                <a:cxn ang="0">
                  <a:pos x="csX562" y="csY562"/>
                </a:cxn>
                <a:cxn ang="0">
                  <a:pos x="csX563" y="csY563"/>
                </a:cxn>
                <a:cxn ang="0">
                  <a:pos x="csX564" y="csY564"/>
                </a:cxn>
                <a:cxn ang="0">
                  <a:pos x="csX565" y="csY565"/>
                </a:cxn>
                <a:cxn ang="0">
                  <a:pos x="csX566" y="csY566"/>
                </a:cxn>
                <a:cxn ang="0">
                  <a:pos x="csX567" y="csY567"/>
                </a:cxn>
                <a:cxn ang="0">
                  <a:pos x="csX568" y="csY568"/>
                </a:cxn>
                <a:cxn ang="0">
                  <a:pos x="csX569" y="csY569"/>
                </a:cxn>
                <a:cxn ang="0">
                  <a:pos x="csX570" y="csY570"/>
                </a:cxn>
                <a:cxn ang="0">
                  <a:pos x="csX571" y="csY571"/>
                </a:cxn>
                <a:cxn ang="0">
                  <a:pos x="csX572" y="csY572"/>
                </a:cxn>
                <a:cxn ang="0">
                  <a:pos x="csX573" y="csY573"/>
                </a:cxn>
                <a:cxn ang="0">
                  <a:pos x="csX574" y="csY574"/>
                </a:cxn>
                <a:cxn ang="0">
                  <a:pos x="csX575" y="csY575"/>
                </a:cxn>
                <a:cxn ang="0">
                  <a:pos x="csX576" y="csY576"/>
                </a:cxn>
                <a:cxn ang="0">
                  <a:pos x="csX577" y="csY577"/>
                </a:cxn>
                <a:cxn ang="0">
                  <a:pos x="csX578" y="csY578"/>
                </a:cxn>
                <a:cxn ang="0">
                  <a:pos x="csX579" y="csY579"/>
                </a:cxn>
                <a:cxn ang="0">
                  <a:pos x="csX580" y="csY580"/>
                </a:cxn>
                <a:cxn ang="0">
                  <a:pos x="csX581" y="csY581"/>
                </a:cxn>
                <a:cxn ang="0">
                  <a:pos x="csX582" y="csY582"/>
                </a:cxn>
                <a:cxn ang="0">
                  <a:pos x="csX583" y="csY583"/>
                </a:cxn>
                <a:cxn ang="0">
                  <a:pos x="csX584" y="csY584"/>
                </a:cxn>
                <a:cxn ang="0">
                  <a:pos x="csX585" y="csY585"/>
                </a:cxn>
                <a:cxn ang="0">
                  <a:pos x="csX586" y="csY586"/>
                </a:cxn>
                <a:cxn ang="0">
                  <a:pos x="csX587" y="csY587"/>
                </a:cxn>
                <a:cxn ang="0">
                  <a:pos x="csX588" y="csY588"/>
                </a:cxn>
                <a:cxn ang="0">
                  <a:pos x="csX589" y="csY589"/>
                </a:cxn>
                <a:cxn ang="0">
                  <a:pos x="csX590" y="csY590"/>
                </a:cxn>
                <a:cxn ang="0">
                  <a:pos x="csX591" y="csY591"/>
                </a:cxn>
                <a:cxn ang="0">
                  <a:pos x="csX592" y="csY592"/>
                </a:cxn>
                <a:cxn ang="0">
                  <a:pos x="csX593" y="csY593"/>
                </a:cxn>
                <a:cxn ang="0">
                  <a:pos x="csX594" y="csY594"/>
                </a:cxn>
                <a:cxn ang="0">
                  <a:pos x="csX595" y="csY595"/>
                </a:cxn>
                <a:cxn ang="0">
                  <a:pos x="csX596" y="csY596"/>
                </a:cxn>
                <a:cxn ang="0">
                  <a:pos x="csX597" y="csY597"/>
                </a:cxn>
                <a:cxn ang="0">
                  <a:pos x="csX598" y="csY598"/>
                </a:cxn>
                <a:cxn ang="0">
                  <a:pos x="csX599" y="csY599"/>
                </a:cxn>
                <a:cxn ang="0">
                  <a:pos x="csX600" y="csY600"/>
                </a:cxn>
                <a:cxn ang="0">
                  <a:pos x="csX601" y="csY601"/>
                </a:cxn>
                <a:cxn ang="0">
                  <a:pos x="csX602" y="csY602"/>
                </a:cxn>
                <a:cxn ang="0">
                  <a:pos x="csX603" y="csY603"/>
                </a:cxn>
                <a:cxn ang="0">
                  <a:pos x="csX604" y="csY604"/>
                </a:cxn>
                <a:cxn ang="0">
                  <a:pos x="csX605" y="csY605"/>
                </a:cxn>
                <a:cxn ang="0">
                  <a:pos x="csX606" y="csY606"/>
                </a:cxn>
                <a:cxn ang="0">
                  <a:pos x="csX607" y="csY607"/>
                </a:cxn>
                <a:cxn ang="0">
                  <a:pos x="csX608" y="csY608"/>
                </a:cxn>
                <a:cxn ang="0">
                  <a:pos x="csX609" y="csY609"/>
                </a:cxn>
                <a:cxn ang="0">
                  <a:pos x="csX610" y="csY610"/>
                </a:cxn>
                <a:cxn ang="0">
                  <a:pos x="csX611" y="csY611"/>
                </a:cxn>
                <a:cxn ang="0">
                  <a:pos x="csX612" y="csY612"/>
                </a:cxn>
                <a:cxn ang="0">
                  <a:pos x="csX613" y="csY613"/>
                </a:cxn>
                <a:cxn ang="0">
                  <a:pos x="csX614" y="csY614"/>
                </a:cxn>
                <a:cxn ang="0">
                  <a:pos x="csX615" y="csY615"/>
                </a:cxn>
                <a:cxn ang="0">
                  <a:pos x="csX616" y="csY616"/>
                </a:cxn>
                <a:cxn ang="0">
                  <a:pos x="csX617" y="csY617"/>
                </a:cxn>
                <a:cxn ang="0">
                  <a:pos x="csX618" y="csY618"/>
                </a:cxn>
                <a:cxn ang="0">
                  <a:pos x="csX619" y="csY619"/>
                </a:cxn>
                <a:cxn ang="0">
                  <a:pos x="csX620" y="csY620"/>
                </a:cxn>
                <a:cxn ang="0">
                  <a:pos x="csX621" y="csY621"/>
                </a:cxn>
                <a:cxn ang="0">
                  <a:pos x="csX622" y="csY622"/>
                </a:cxn>
                <a:cxn ang="0">
                  <a:pos x="csX623" y="csY623"/>
                </a:cxn>
                <a:cxn ang="0">
                  <a:pos x="csX624" y="csY624"/>
                </a:cxn>
                <a:cxn ang="0">
                  <a:pos x="csX625" y="csY625"/>
                </a:cxn>
                <a:cxn ang="0">
                  <a:pos x="csX626" y="csY626"/>
                </a:cxn>
                <a:cxn ang="0">
                  <a:pos x="csX627" y="csY627"/>
                </a:cxn>
                <a:cxn ang="0">
                  <a:pos x="csX628" y="csY628"/>
                </a:cxn>
                <a:cxn ang="0">
                  <a:pos x="csX629" y="csY629"/>
                </a:cxn>
                <a:cxn ang="0">
                  <a:pos x="csX630" y="csY630"/>
                </a:cxn>
                <a:cxn ang="0">
                  <a:pos x="csX631" y="csY631"/>
                </a:cxn>
                <a:cxn ang="0">
                  <a:pos x="csX632" y="csY632"/>
                </a:cxn>
                <a:cxn ang="0">
                  <a:pos x="csX633" y="csY633"/>
                </a:cxn>
                <a:cxn ang="0">
                  <a:pos x="csX634" y="csY634"/>
                </a:cxn>
                <a:cxn ang="0">
                  <a:pos x="csX635" y="csY635"/>
                </a:cxn>
                <a:cxn ang="0">
                  <a:pos x="csX636" y="csY636"/>
                </a:cxn>
                <a:cxn ang="0">
                  <a:pos x="csX637" y="csY637"/>
                </a:cxn>
                <a:cxn ang="0">
                  <a:pos x="csX638" y="csY638"/>
                </a:cxn>
                <a:cxn ang="0">
                  <a:pos x="csX639" y="csY639"/>
                </a:cxn>
                <a:cxn ang="0">
                  <a:pos x="csX640" y="csY640"/>
                </a:cxn>
                <a:cxn ang="0">
                  <a:pos x="csX641" y="csY641"/>
                </a:cxn>
                <a:cxn ang="0">
                  <a:pos x="csX642" y="csY642"/>
                </a:cxn>
                <a:cxn ang="0">
                  <a:pos x="csX643" y="csY643"/>
                </a:cxn>
                <a:cxn ang="0">
                  <a:pos x="csX644" y="csY644"/>
                </a:cxn>
                <a:cxn ang="0">
                  <a:pos x="csX645" y="csY645"/>
                </a:cxn>
                <a:cxn ang="0">
                  <a:pos x="csX646" y="csY646"/>
                </a:cxn>
                <a:cxn ang="0">
                  <a:pos x="csX647" y="csY647"/>
                </a:cxn>
                <a:cxn ang="0">
                  <a:pos x="csX648" y="csY648"/>
                </a:cxn>
                <a:cxn ang="0">
                  <a:pos x="csX649" y="csY649"/>
                </a:cxn>
                <a:cxn ang="0">
                  <a:pos x="csX650" y="csY650"/>
                </a:cxn>
                <a:cxn ang="0">
                  <a:pos x="csX651" y="csY651"/>
                </a:cxn>
                <a:cxn ang="0">
                  <a:pos x="csX652" y="csY652"/>
                </a:cxn>
                <a:cxn ang="0">
                  <a:pos x="csX653" y="csY653"/>
                </a:cxn>
                <a:cxn ang="0">
                  <a:pos x="csX654" y="csY654"/>
                </a:cxn>
                <a:cxn ang="0">
                  <a:pos x="csX655" y="csY655"/>
                </a:cxn>
                <a:cxn ang="0">
                  <a:pos x="csX656" y="csY656"/>
                </a:cxn>
                <a:cxn ang="0">
                  <a:pos x="csX657" y="csY657"/>
                </a:cxn>
                <a:cxn ang="0">
                  <a:pos x="csX658" y="csY658"/>
                </a:cxn>
                <a:cxn ang="0">
                  <a:pos x="csX659" y="csY659"/>
                </a:cxn>
                <a:cxn ang="0">
                  <a:pos x="csX660" y="csY660"/>
                </a:cxn>
                <a:cxn ang="0">
                  <a:pos x="csX661" y="csY661"/>
                </a:cxn>
                <a:cxn ang="0">
                  <a:pos x="csX662" y="csY662"/>
                </a:cxn>
                <a:cxn ang="0">
                  <a:pos x="csX663" y="csY663"/>
                </a:cxn>
                <a:cxn ang="0">
                  <a:pos x="csX664" y="csY664"/>
                </a:cxn>
                <a:cxn ang="0">
                  <a:pos x="csX665" y="csY665"/>
                </a:cxn>
                <a:cxn ang="0">
                  <a:pos x="csX666" y="csY666"/>
                </a:cxn>
                <a:cxn ang="0">
                  <a:pos x="csX667" y="csY667"/>
                </a:cxn>
                <a:cxn ang="0">
                  <a:pos x="csX668" y="csY668"/>
                </a:cxn>
                <a:cxn ang="0">
                  <a:pos x="csX669" y="csY669"/>
                </a:cxn>
                <a:cxn ang="0">
                  <a:pos x="csX670" y="csY670"/>
                </a:cxn>
                <a:cxn ang="0">
                  <a:pos x="csX671" y="csY671"/>
                </a:cxn>
                <a:cxn ang="0">
                  <a:pos x="csX672" y="csY672"/>
                </a:cxn>
                <a:cxn ang="0">
                  <a:pos x="csX673" y="csY673"/>
                </a:cxn>
                <a:cxn ang="0">
                  <a:pos x="csX674" y="csY674"/>
                </a:cxn>
                <a:cxn ang="0">
                  <a:pos x="csX675" y="csY675"/>
                </a:cxn>
                <a:cxn ang="0">
                  <a:pos x="csX676" y="csY676"/>
                </a:cxn>
                <a:cxn ang="0">
                  <a:pos x="csX677" y="csY677"/>
                </a:cxn>
                <a:cxn ang="0">
                  <a:pos x="csX678" y="csY678"/>
                </a:cxn>
                <a:cxn ang="0">
                  <a:pos x="csX679" y="csY679"/>
                </a:cxn>
                <a:cxn ang="0">
                  <a:pos x="csX680" y="csY680"/>
                </a:cxn>
                <a:cxn ang="0">
                  <a:pos x="csX681" y="csY681"/>
                </a:cxn>
                <a:cxn ang="0">
                  <a:pos x="csX682" y="csY682"/>
                </a:cxn>
                <a:cxn ang="0">
                  <a:pos x="csX683" y="csY683"/>
                </a:cxn>
                <a:cxn ang="0">
                  <a:pos x="csX684" y="csY684"/>
                </a:cxn>
                <a:cxn ang="0">
                  <a:pos x="csX685" y="csY685"/>
                </a:cxn>
                <a:cxn ang="0">
                  <a:pos x="csX686" y="csY686"/>
                </a:cxn>
                <a:cxn ang="0">
                  <a:pos x="csX687" y="csY687"/>
                </a:cxn>
                <a:cxn ang="0">
                  <a:pos x="csX688" y="csY688"/>
                </a:cxn>
                <a:cxn ang="0">
                  <a:pos x="csX689" y="csY689"/>
                </a:cxn>
                <a:cxn ang="0">
                  <a:pos x="csX690" y="csY690"/>
                </a:cxn>
                <a:cxn ang="0">
                  <a:pos x="csX691" y="csY691"/>
                </a:cxn>
                <a:cxn ang="0">
                  <a:pos x="csX692" y="csY692"/>
                </a:cxn>
                <a:cxn ang="0">
                  <a:pos x="csX693" y="csY693"/>
                </a:cxn>
                <a:cxn ang="0">
                  <a:pos x="csX694" y="csY694"/>
                </a:cxn>
                <a:cxn ang="0">
                  <a:pos x="csX695" y="csY695"/>
                </a:cxn>
                <a:cxn ang="0">
                  <a:pos x="csX696" y="csY696"/>
                </a:cxn>
                <a:cxn ang="0">
                  <a:pos x="csX697" y="csY697"/>
                </a:cxn>
                <a:cxn ang="0">
                  <a:pos x="csX698" y="csY698"/>
                </a:cxn>
                <a:cxn ang="0">
                  <a:pos x="csX699" y="csY699"/>
                </a:cxn>
                <a:cxn ang="0">
                  <a:pos x="csX700" y="csY700"/>
                </a:cxn>
                <a:cxn ang="0">
                  <a:pos x="csX701" y="csY701"/>
                </a:cxn>
                <a:cxn ang="0">
                  <a:pos x="csX702" y="csY702"/>
                </a:cxn>
                <a:cxn ang="0">
                  <a:pos x="csX703" y="csY703"/>
                </a:cxn>
                <a:cxn ang="0">
                  <a:pos x="csX704" y="csY704"/>
                </a:cxn>
                <a:cxn ang="0">
                  <a:pos x="csX705" y="csY705"/>
                </a:cxn>
                <a:cxn ang="0">
                  <a:pos x="csX706" y="csY706"/>
                </a:cxn>
                <a:cxn ang="0">
                  <a:pos x="csX707" y="csY707"/>
                </a:cxn>
                <a:cxn ang="0">
                  <a:pos x="csX708" y="csY708"/>
                </a:cxn>
                <a:cxn ang="0">
                  <a:pos x="csX709" y="csY709"/>
                </a:cxn>
                <a:cxn ang="0">
                  <a:pos x="csX710" y="csY710"/>
                </a:cxn>
                <a:cxn ang="0">
                  <a:pos x="csX711" y="csY711"/>
                </a:cxn>
                <a:cxn ang="0">
                  <a:pos x="csX712" y="csY712"/>
                </a:cxn>
                <a:cxn ang="0">
                  <a:pos x="csX713" y="csY713"/>
                </a:cxn>
                <a:cxn ang="0">
                  <a:pos x="csX714" y="csY714"/>
                </a:cxn>
                <a:cxn ang="0">
                  <a:pos x="csX715" y="csY715"/>
                </a:cxn>
                <a:cxn ang="0">
                  <a:pos x="csX716" y="csY716"/>
                </a:cxn>
                <a:cxn ang="0">
                  <a:pos x="csX717" y="csY717"/>
                </a:cxn>
                <a:cxn ang="0">
                  <a:pos x="csX718" y="csY718"/>
                </a:cxn>
                <a:cxn ang="0">
                  <a:pos x="csX719" y="csY719"/>
                </a:cxn>
                <a:cxn ang="0">
                  <a:pos x="csX720" y="csY720"/>
                </a:cxn>
                <a:cxn ang="0">
                  <a:pos x="csX721" y="csY721"/>
                </a:cxn>
                <a:cxn ang="0">
                  <a:pos x="csX722" y="csY722"/>
                </a:cxn>
                <a:cxn ang="0">
                  <a:pos x="csX723" y="csY723"/>
                </a:cxn>
                <a:cxn ang="0">
                  <a:pos x="csX724" y="csY724"/>
                </a:cxn>
                <a:cxn ang="0">
                  <a:pos x="csX725" y="csY725"/>
                </a:cxn>
                <a:cxn ang="0">
                  <a:pos x="csX726" y="csY726"/>
                </a:cxn>
                <a:cxn ang="0">
                  <a:pos x="csX727" y="csY727"/>
                </a:cxn>
                <a:cxn ang="0">
                  <a:pos x="csX728" y="csY728"/>
                </a:cxn>
                <a:cxn ang="0">
                  <a:pos x="csX729" y="csY729"/>
                </a:cxn>
                <a:cxn ang="0">
                  <a:pos x="csX730" y="csY730"/>
                </a:cxn>
                <a:cxn ang="0">
                  <a:pos x="csX731" y="csY731"/>
                </a:cxn>
                <a:cxn ang="0">
                  <a:pos x="csX732" y="csY732"/>
                </a:cxn>
                <a:cxn ang="0">
                  <a:pos x="csX733" y="csY733"/>
                </a:cxn>
                <a:cxn ang="0">
                  <a:pos x="csX734" y="csY734"/>
                </a:cxn>
                <a:cxn ang="0">
                  <a:pos x="csX735" y="csY735"/>
                </a:cxn>
                <a:cxn ang="0">
                  <a:pos x="csX736" y="csY736"/>
                </a:cxn>
                <a:cxn ang="0">
                  <a:pos x="csX737" y="csY737"/>
                </a:cxn>
                <a:cxn ang="0">
                  <a:pos x="csX738" y="csY738"/>
                </a:cxn>
                <a:cxn ang="0">
                  <a:pos x="csX739" y="csY739"/>
                </a:cxn>
                <a:cxn ang="0">
                  <a:pos x="csX740" y="csY740"/>
                </a:cxn>
                <a:cxn ang="0">
                  <a:pos x="csX741" y="csY741"/>
                </a:cxn>
                <a:cxn ang="0">
                  <a:pos x="csX742" y="csY742"/>
                </a:cxn>
                <a:cxn ang="0">
                  <a:pos x="csX743" y="csY743"/>
                </a:cxn>
                <a:cxn ang="0">
                  <a:pos x="csX744" y="csY744"/>
                </a:cxn>
                <a:cxn ang="0">
                  <a:pos x="csX745" y="csY745"/>
                </a:cxn>
                <a:cxn ang="0">
                  <a:pos x="csX746" y="csY746"/>
                </a:cxn>
                <a:cxn ang="0">
                  <a:pos x="csX747" y="csY747"/>
                </a:cxn>
                <a:cxn ang="0">
                  <a:pos x="csX748" y="csY748"/>
                </a:cxn>
                <a:cxn ang="0">
                  <a:pos x="csX749" y="csY749"/>
                </a:cxn>
                <a:cxn ang="0">
                  <a:pos x="csX750" y="csY750"/>
                </a:cxn>
                <a:cxn ang="0">
                  <a:pos x="csX751" y="csY751"/>
                </a:cxn>
                <a:cxn ang="0">
                  <a:pos x="csX752" y="csY752"/>
                </a:cxn>
                <a:cxn ang="0">
                  <a:pos x="csX753" y="csY753"/>
                </a:cxn>
                <a:cxn ang="0">
                  <a:pos x="csX754" y="csY754"/>
                </a:cxn>
                <a:cxn ang="0">
                  <a:pos x="csX755" y="csY755"/>
                </a:cxn>
                <a:cxn ang="0">
                  <a:pos x="csX756" y="csY756"/>
                </a:cxn>
                <a:cxn ang="0">
                  <a:pos x="csX757" y="csY757"/>
                </a:cxn>
                <a:cxn ang="0">
                  <a:pos x="csX758" y="csY758"/>
                </a:cxn>
                <a:cxn ang="0">
                  <a:pos x="csX759" y="csY759"/>
                </a:cxn>
                <a:cxn ang="0">
                  <a:pos x="csX760" y="csY760"/>
                </a:cxn>
                <a:cxn ang="0">
                  <a:pos x="csX761" y="csY761"/>
                </a:cxn>
                <a:cxn ang="0">
                  <a:pos x="csX762" y="csY762"/>
                </a:cxn>
                <a:cxn ang="0">
                  <a:pos x="csX763" y="csY763"/>
                </a:cxn>
                <a:cxn ang="0">
                  <a:pos x="csX764" y="csY764"/>
                </a:cxn>
                <a:cxn ang="0">
                  <a:pos x="csX765" y="csY765"/>
                </a:cxn>
                <a:cxn ang="0">
                  <a:pos x="csX766" y="csY766"/>
                </a:cxn>
                <a:cxn ang="0">
                  <a:pos x="csX767" y="csY767"/>
                </a:cxn>
                <a:cxn ang="0">
                  <a:pos x="csX768" y="csY768"/>
                </a:cxn>
                <a:cxn ang="0">
                  <a:pos x="csX769" y="csY769"/>
                </a:cxn>
                <a:cxn ang="0">
                  <a:pos x="csX770" y="csY770"/>
                </a:cxn>
                <a:cxn ang="0">
                  <a:pos x="csX771" y="csY771"/>
                </a:cxn>
                <a:cxn ang="0">
                  <a:pos x="csX772" y="csY772"/>
                </a:cxn>
                <a:cxn ang="0">
                  <a:pos x="csX773" y="csY773"/>
                </a:cxn>
                <a:cxn ang="0">
                  <a:pos x="csX774" y="csY774"/>
                </a:cxn>
                <a:cxn ang="0">
                  <a:pos x="csX775" y="csY775"/>
                </a:cxn>
                <a:cxn ang="0">
                  <a:pos x="csX776" y="csY776"/>
                </a:cxn>
                <a:cxn ang="0">
                  <a:pos x="csX777" y="csY777"/>
                </a:cxn>
                <a:cxn ang="0">
                  <a:pos x="csX778" y="csY778"/>
                </a:cxn>
                <a:cxn ang="0">
                  <a:pos x="csX779" y="csY779"/>
                </a:cxn>
                <a:cxn ang="0">
                  <a:pos x="csX780" y="csY780"/>
                </a:cxn>
                <a:cxn ang="0">
                  <a:pos x="csX781" y="csY781"/>
                </a:cxn>
                <a:cxn ang="0">
                  <a:pos x="csX782" y="csY782"/>
                </a:cxn>
                <a:cxn ang="0">
                  <a:pos x="csX783" y="csY783"/>
                </a:cxn>
                <a:cxn ang="0">
                  <a:pos x="csX784" y="csY784"/>
                </a:cxn>
                <a:cxn ang="0">
                  <a:pos x="csX785" y="csY785"/>
                </a:cxn>
                <a:cxn ang="0">
                  <a:pos x="csX786" y="csY786"/>
                </a:cxn>
                <a:cxn ang="0">
                  <a:pos x="csX787" y="csY787"/>
                </a:cxn>
                <a:cxn ang="0">
                  <a:pos x="csX788" y="csY788"/>
                </a:cxn>
                <a:cxn ang="0">
                  <a:pos x="csX789" y="csY789"/>
                </a:cxn>
                <a:cxn ang="0">
                  <a:pos x="csX790" y="csY790"/>
                </a:cxn>
                <a:cxn ang="0">
                  <a:pos x="csX791" y="csY791"/>
                </a:cxn>
                <a:cxn ang="0">
                  <a:pos x="csX792" y="csY792"/>
                </a:cxn>
                <a:cxn ang="0">
                  <a:pos x="csX793" y="csY793"/>
                </a:cxn>
                <a:cxn ang="0">
                  <a:pos x="csX794" y="csY794"/>
                </a:cxn>
                <a:cxn ang="0">
                  <a:pos x="csX795" y="csY795"/>
                </a:cxn>
                <a:cxn ang="0">
                  <a:pos x="csX796" y="csY796"/>
                </a:cxn>
                <a:cxn ang="0">
                  <a:pos x="csX797" y="csY797"/>
                </a:cxn>
                <a:cxn ang="0">
                  <a:pos x="csX798" y="csY798"/>
                </a:cxn>
                <a:cxn ang="0">
                  <a:pos x="csX799" y="csY799"/>
                </a:cxn>
                <a:cxn ang="0">
                  <a:pos x="csX800" y="csY800"/>
                </a:cxn>
                <a:cxn ang="0">
                  <a:pos x="csX801" y="csY801"/>
                </a:cxn>
                <a:cxn ang="0">
                  <a:pos x="csX802" y="csY802"/>
                </a:cxn>
                <a:cxn ang="0">
                  <a:pos x="csX803" y="csY803"/>
                </a:cxn>
                <a:cxn ang="0">
                  <a:pos x="csX804" y="csY804"/>
                </a:cxn>
                <a:cxn ang="0">
                  <a:pos x="csX805" y="csY805"/>
                </a:cxn>
                <a:cxn ang="0">
                  <a:pos x="csX806" y="csY806"/>
                </a:cxn>
                <a:cxn ang="0">
                  <a:pos x="csX807" y="csY807"/>
                </a:cxn>
                <a:cxn ang="0">
                  <a:pos x="csX808" y="csY808"/>
                </a:cxn>
                <a:cxn ang="0">
                  <a:pos x="csX809" y="csY809"/>
                </a:cxn>
                <a:cxn ang="0">
                  <a:pos x="csX810" y="csY810"/>
                </a:cxn>
                <a:cxn ang="0">
                  <a:pos x="csX811" y="csY811"/>
                </a:cxn>
                <a:cxn ang="0">
                  <a:pos x="csX812" y="csY812"/>
                </a:cxn>
                <a:cxn ang="0">
                  <a:pos x="csX813" y="csY813"/>
                </a:cxn>
                <a:cxn ang="0">
                  <a:pos x="csX814" y="csY814"/>
                </a:cxn>
                <a:cxn ang="0">
                  <a:pos x="csX815" y="csY815"/>
                </a:cxn>
                <a:cxn ang="0">
                  <a:pos x="csX816" y="csY816"/>
                </a:cxn>
                <a:cxn ang="0">
                  <a:pos x="csX817" y="csY817"/>
                </a:cxn>
                <a:cxn ang="0">
                  <a:pos x="csX818" y="csY818"/>
                </a:cxn>
                <a:cxn ang="0">
                  <a:pos x="csX819" y="csY819"/>
                </a:cxn>
                <a:cxn ang="0">
                  <a:pos x="csX820" y="csY820"/>
                </a:cxn>
                <a:cxn ang="0">
                  <a:pos x="csX821" y="csY821"/>
                </a:cxn>
                <a:cxn ang="0">
                  <a:pos x="csX822" y="csY822"/>
                </a:cxn>
                <a:cxn ang="0">
                  <a:pos x="csX823" y="csY823"/>
                </a:cxn>
                <a:cxn ang="0">
                  <a:pos x="csX824" y="csY824"/>
                </a:cxn>
                <a:cxn ang="0">
                  <a:pos x="csX825" y="csY825"/>
                </a:cxn>
                <a:cxn ang="0">
                  <a:pos x="csX826" y="csY826"/>
                </a:cxn>
                <a:cxn ang="0">
                  <a:pos x="csX827" y="csY827"/>
                </a:cxn>
                <a:cxn ang="0">
                  <a:pos x="csX828" y="csY828"/>
                </a:cxn>
                <a:cxn ang="0">
                  <a:pos x="csX829" y="csY829"/>
                </a:cxn>
                <a:cxn ang="0">
                  <a:pos x="csX830" y="csY830"/>
                </a:cxn>
                <a:cxn ang="0">
                  <a:pos x="csX831" y="csY831"/>
                </a:cxn>
                <a:cxn ang="0">
                  <a:pos x="csX832" y="csY832"/>
                </a:cxn>
                <a:cxn ang="0">
                  <a:pos x="csX833" y="csY833"/>
                </a:cxn>
                <a:cxn ang="0">
                  <a:pos x="csX834" y="csY834"/>
                </a:cxn>
                <a:cxn ang="0">
                  <a:pos x="csX835" y="csY835"/>
                </a:cxn>
                <a:cxn ang="0">
                  <a:pos x="csX836" y="csY836"/>
                </a:cxn>
                <a:cxn ang="0">
                  <a:pos x="csX837" y="csY837"/>
                </a:cxn>
                <a:cxn ang="0">
                  <a:pos x="csX838" y="csY838"/>
                </a:cxn>
                <a:cxn ang="0">
                  <a:pos x="csX839" y="csY839"/>
                </a:cxn>
                <a:cxn ang="0">
                  <a:pos x="csX840" y="csY840"/>
                </a:cxn>
                <a:cxn ang="0">
                  <a:pos x="csX841" y="csY841"/>
                </a:cxn>
                <a:cxn ang="0">
                  <a:pos x="csX842" y="csY842"/>
                </a:cxn>
                <a:cxn ang="0">
                  <a:pos x="csX843" y="csY843"/>
                </a:cxn>
                <a:cxn ang="0">
                  <a:pos x="csX844" y="csY844"/>
                </a:cxn>
                <a:cxn ang="0">
                  <a:pos x="csX845" y="csY845"/>
                </a:cxn>
                <a:cxn ang="0">
                  <a:pos x="csX846" y="csY846"/>
                </a:cxn>
                <a:cxn ang="0">
                  <a:pos x="csX847" y="csY847"/>
                </a:cxn>
                <a:cxn ang="0">
                  <a:pos x="csX848" y="csY848"/>
                </a:cxn>
                <a:cxn ang="0">
                  <a:pos x="csX849" y="csY849"/>
                </a:cxn>
                <a:cxn ang="0">
                  <a:pos x="csX850" y="csY850"/>
                </a:cxn>
                <a:cxn ang="0">
                  <a:pos x="csX851" y="csY851"/>
                </a:cxn>
                <a:cxn ang="0">
                  <a:pos x="csX852" y="csY852"/>
                </a:cxn>
                <a:cxn ang="0">
                  <a:pos x="csX853" y="csY853"/>
                </a:cxn>
                <a:cxn ang="0">
                  <a:pos x="csX854" y="csY854"/>
                </a:cxn>
                <a:cxn ang="0">
                  <a:pos x="csX855" y="csY855"/>
                </a:cxn>
                <a:cxn ang="0">
                  <a:pos x="csX856" y="csY856"/>
                </a:cxn>
                <a:cxn ang="0">
                  <a:pos x="csX857" y="csY857"/>
                </a:cxn>
                <a:cxn ang="0">
                  <a:pos x="csX858" y="csY858"/>
                </a:cxn>
                <a:cxn ang="0">
                  <a:pos x="csX859" y="csY859"/>
                </a:cxn>
                <a:cxn ang="0">
                  <a:pos x="csX860" y="csY860"/>
                </a:cxn>
                <a:cxn ang="0">
                  <a:pos x="csX861" y="csY861"/>
                </a:cxn>
                <a:cxn ang="0">
                  <a:pos x="csX862" y="csY862"/>
                </a:cxn>
                <a:cxn ang="0">
                  <a:pos x="csX863" y="csY863"/>
                </a:cxn>
                <a:cxn ang="0">
                  <a:pos x="csX864" y="csY864"/>
                </a:cxn>
                <a:cxn ang="0">
                  <a:pos x="csX865" y="csY865"/>
                </a:cxn>
                <a:cxn ang="0">
                  <a:pos x="csX866" y="csY866"/>
                </a:cxn>
                <a:cxn ang="0">
                  <a:pos x="csX867" y="csY867"/>
                </a:cxn>
                <a:cxn ang="0">
                  <a:pos x="csX868" y="csY868"/>
                </a:cxn>
                <a:cxn ang="0">
                  <a:pos x="csX869" y="csY869"/>
                </a:cxn>
                <a:cxn ang="0">
                  <a:pos x="csX870" y="csY870"/>
                </a:cxn>
                <a:cxn ang="0">
                  <a:pos x="csX871" y="csY871"/>
                </a:cxn>
                <a:cxn ang="0">
                  <a:pos x="csX872" y="csY872"/>
                </a:cxn>
                <a:cxn ang="0">
                  <a:pos x="csX873" y="csY873"/>
                </a:cxn>
                <a:cxn ang="0">
                  <a:pos x="csX874" y="csY874"/>
                </a:cxn>
                <a:cxn ang="0">
                  <a:pos x="csX875" y="csY875"/>
                </a:cxn>
                <a:cxn ang="0">
                  <a:pos x="csX876" y="csY876"/>
                </a:cxn>
                <a:cxn ang="0">
                  <a:pos x="csX877" y="csY877"/>
                </a:cxn>
                <a:cxn ang="0">
                  <a:pos x="csX878" y="csY878"/>
                </a:cxn>
                <a:cxn ang="0">
                  <a:pos x="csX879" y="csY879"/>
                </a:cxn>
                <a:cxn ang="0">
                  <a:pos x="csX880" y="csY880"/>
                </a:cxn>
                <a:cxn ang="0">
                  <a:pos x="csX881" y="csY881"/>
                </a:cxn>
                <a:cxn ang="0">
                  <a:pos x="csX882" y="csY882"/>
                </a:cxn>
                <a:cxn ang="0">
                  <a:pos x="csX883" y="csY883"/>
                </a:cxn>
                <a:cxn ang="0">
                  <a:pos x="csX884" y="csY884"/>
                </a:cxn>
                <a:cxn ang="0">
                  <a:pos x="csX885" y="csY885"/>
                </a:cxn>
                <a:cxn ang="0">
                  <a:pos x="csX886" y="csY886"/>
                </a:cxn>
                <a:cxn ang="0">
                  <a:pos x="csX887" y="csY887"/>
                </a:cxn>
                <a:cxn ang="0">
                  <a:pos x="csX888" y="csY888"/>
                </a:cxn>
                <a:cxn ang="0">
                  <a:pos x="csX889" y="csY889"/>
                </a:cxn>
                <a:cxn ang="0">
                  <a:pos x="csX890" y="csY890"/>
                </a:cxn>
                <a:cxn ang="0">
                  <a:pos x="csX891" y="csY891"/>
                </a:cxn>
                <a:cxn ang="0">
                  <a:pos x="csX892" y="csY892"/>
                </a:cxn>
                <a:cxn ang="0">
                  <a:pos x="csX893" y="csY893"/>
                </a:cxn>
                <a:cxn ang="0">
                  <a:pos x="csX894" y="csY894"/>
                </a:cxn>
                <a:cxn ang="0">
                  <a:pos x="csX895" y="csY895"/>
                </a:cxn>
                <a:cxn ang="0">
                  <a:pos x="csX896" y="csY896"/>
                </a:cxn>
                <a:cxn ang="0">
                  <a:pos x="csX897" y="csY897"/>
                </a:cxn>
                <a:cxn ang="0">
                  <a:pos x="csX898" y="csY898"/>
                </a:cxn>
                <a:cxn ang="0">
                  <a:pos x="csX899" y="csY899"/>
                </a:cxn>
                <a:cxn ang="0">
                  <a:pos x="csX900" y="csY900"/>
                </a:cxn>
                <a:cxn ang="0">
                  <a:pos x="csX901" y="csY901"/>
                </a:cxn>
                <a:cxn ang="0">
                  <a:pos x="csX902" y="csY902"/>
                </a:cxn>
                <a:cxn ang="0">
                  <a:pos x="csX903" y="csY903"/>
                </a:cxn>
                <a:cxn ang="0">
                  <a:pos x="csX904" y="csY904"/>
                </a:cxn>
                <a:cxn ang="0">
                  <a:pos x="csX905" y="csY905"/>
                </a:cxn>
                <a:cxn ang="0">
                  <a:pos x="csX906" y="csY906"/>
                </a:cxn>
                <a:cxn ang="0">
                  <a:pos x="csX907" y="csY907"/>
                </a:cxn>
                <a:cxn ang="0">
                  <a:pos x="csX908" y="csY908"/>
                </a:cxn>
                <a:cxn ang="0">
                  <a:pos x="csX909" y="csY909"/>
                </a:cxn>
                <a:cxn ang="0">
                  <a:pos x="csX910" y="csY910"/>
                </a:cxn>
                <a:cxn ang="0">
                  <a:pos x="csX911" y="csY911"/>
                </a:cxn>
                <a:cxn ang="0">
                  <a:pos x="csX912" y="csY912"/>
                </a:cxn>
                <a:cxn ang="0">
                  <a:pos x="csX913" y="csY913"/>
                </a:cxn>
                <a:cxn ang="0">
                  <a:pos x="csX914" y="csY914"/>
                </a:cxn>
                <a:cxn ang="0">
                  <a:pos x="csX915" y="csY915"/>
                </a:cxn>
                <a:cxn ang="0">
                  <a:pos x="csX916" y="csY916"/>
                </a:cxn>
                <a:cxn ang="0">
                  <a:pos x="csX917" y="csY917"/>
                </a:cxn>
                <a:cxn ang="0">
                  <a:pos x="csX918" y="csY918"/>
                </a:cxn>
                <a:cxn ang="0">
                  <a:pos x="csX919" y="csY919"/>
                </a:cxn>
                <a:cxn ang="0">
                  <a:pos x="csX920" y="csY920"/>
                </a:cxn>
                <a:cxn ang="0">
                  <a:pos x="csX921" y="csY921"/>
                </a:cxn>
                <a:cxn ang="0">
                  <a:pos x="csX922" y="csY922"/>
                </a:cxn>
                <a:cxn ang="0">
                  <a:pos x="csX923" y="csY923"/>
                </a:cxn>
                <a:cxn ang="0">
                  <a:pos x="csX924" y="csY924"/>
                </a:cxn>
                <a:cxn ang="0">
                  <a:pos x="csX925" y="csY925"/>
                </a:cxn>
                <a:cxn ang="0">
                  <a:pos x="csX926" y="csY926"/>
                </a:cxn>
                <a:cxn ang="0">
                  <a:pos x="csX927" y="csY927"/>
                </a:cxn>
                <a:cxn ang="0">
                  <a:pos x="csX928" y="csY928"/>
                </a:cxn>
                <a:cxn ang="0">
                  <a:pos x="csX929" y="csY929"/>
                </a:cxn>
                <a:cxn ang="0">
                  <a:pos x="csX930" y="csY930"/>
                </a:cxn>
                <a:cxn ang="0">
                  <a:pos x="csX931" y="csY931"/>
                </a:cxn>
                <a:cxn ang="0">
                  <a:pos x="csX932" y="csY932"/>
                </a:cxn>
                <a:cxn ang="0">
                  <a:pos x="csX933" y="csY933"/>
                </a:cxn>
                <a:cxn ang="0">
                  <a:pos x="csX934" y="csY934"/>
                </a:cxn>
                <a:cxn ang="0">
                  <a:pos x="csX935" y="csY935"/>
                </a:cxn>
                <a:cxn ang="0">
                  <a:pos x="csX936" y="csY936"/>
                </a:cxn>
                <a:cxn ang="0">
                  <a:pos x="csX937" y="csY937"/>
                </a:cxn>
                <a:cxn ang="0">
                  <a:pos x="csX938" y="csY938"/>
                </a:cxn>
                <a:cxn ang="0">
                  <a:pos x="csX939" y="csY939"/>
                </a:cxn>
                <a:cxn ang="0">
                  <a:pos x="csX940" y="csY940"/>
                </a:cxn>
                <a:cxn ang="0">
                  <a:pos x="csX941" y="csY941"/>
                </a:cxn>
                <a:cxn ang="0">
                  <a:pos x="csX942" y="csY942"/>
                </a:cxn>
                <a:cxn ang="0">
                  <a:pos x="csX943" y="csY943"/>
                </a:cxn>
                <a:cxn ang="0">
                  <a:pos x="csX944" y="csY944"/>
                </a:cxn>
                <a:cxn ang="0">
                  <a:pos x="csX945" y="csY945"/>
                </a:cxn>
                <a:cxn ang="0">
                  <a:pos x="csX946" y="csY946"/>
                </a:cxn>
                <a:cxn ang="0">
                  <a:pos x="csX947" y="csY947"/>
                </a:cxn>
                <a:cxn ang="0">
                  <a:pos x="csX948" y="csY948"/>
                </a:cxn>
                <a:cxn ang="0">
                  <a:pos x="csX949" y="csY949"/>
                </a:cxn>
                <a:cxn ang="0">
                  <a:pos x="csX950" y="csY950"/>
                </a:cxn>
                <a:cxn ang="0">
                  <a:pos x="csX951" y="csY951"/>
                </a:cxn>
                <a:cxn ang="0">
                  <a:pos x="csX952" y="csY952"/>
                </a:cxn>
                <a:cxn ang="0">
                  <a:pos x="csX953" y="csY953"/>
                </a:cxn>
                <a:cxn ang="0">
                  <a:pos x="csX954" y="csY954"/>
                </a:cxn>
                <a:cxn ang="0">
                  <a:pos x="csX955" y="csY955"/>
                </a:cxn>
                <a:cxn ang="0">
                  <a:pos x="csX956" y="csY956"/>
                </a:cxn>
                <a:cxn ang="0">
                  <a:pos x="csX957" y="csY957"/>
                </a:cxn>
                <a:cxn ang="0">
                  <a:pos x="csX958" y="csY958"/>
                </a:cxn>
                <a:cxn ang="0">
                  <a:pos x="csX959" y="csY959"/>
                </a:cxn>
                <a:cxn ang="0">
                  <a:pos x="csX960" y="csY960"/>
                </a:cxn>
                <a:cxn ang="0">
                  <a:pos x="csX961" y="csY961"/>
                </a:cxn>
                <a:cxn ang="0">
                  <a:pos x="csX962" y="csY962"/>
                </a:cxn>
                <a:cxn ang="0">
                  <a:pos x="csX963" y="csY963"/>
                </a:cxn>
                <a:cxn ang="0">
                  <a:pos x="csX964" y="csY964"/>
                </a:cxn>
                <a:cxn ang="0">
                  <a:pos x="csX965" y="csY965"/>
                </a:cxn>
                <a:cxn ang="0">
                  <a:pos x="csX966" y="csY966"/>
                </a:cxn>
                <a:cxn ang="0">
                  <a:pos x="csX967" y="csY967"/>
                </a:cxn>
                <a:cxn ang="0">
                  <a:pos x="csX968" y="csY968"/>
                </a:cxn>
                <a:cxn ang="0">
                  <a:pos x="csX969" y="csY969"/>
                </a:cxn>
                <a:cxn ang="0">
                  <a:pos x="csX970" y="csY970"/>
                </a:cxn>
                <a:cxn ang="0">
                  <a:pos x="csX971" y="csY971"/>
                </a:cxn>
                <a:cxn ang="0">
                  <a:pos x="csX972" y="csY972"/>
                </a:cxn>
                <a:cxn ang="0">
                  <a:pos x="csX973" y="csY973"/>
                </a:cxn>
                <a:cxn ang="0">
                  <a:pos x="csX974" y="csY974"/>
                </a:cxn>
                <a:cxn ang="0">
                  <a:pos x="csX975" y="csY975"/>
                </a:cxn>
                <a:cxn ang="0">
                  <a:pos x="csX976" y="csY976"/>
                </a:cxn>
                <a:cxn ang="0">
                  <a:pos x="csX977" y="csY977"/>
                </a:cxn>
                <a:cxn ang="0">
                  <a:pos x="csX978" y="csY978"/>
                </a:cxn>
                <a:cxn ang="0">
                  <a:pos x="csX979" y="csY979"/>
                </a:cxn>
                <a:cxn ang="0">
                  <a:pos x="csX980" y="csY980"/>
                </a:cxn>
                <a:cxn ang="0">
                  <a:pos x="csX981" y="csY981"/>
                </a:cxn>
                <a:cxn ang="0">
                  <a:pos x="csX982" y="csY982"/>
                </a:cxn>
                <a:cxn ang="0">
                  <a:pos x="csX983" y="csY983"/>
                </a:cxn>
                <a:cxn ang="0">
                  <a:pos x="csX984" y="csY984"/>
                </a:cxn>
                <a:cxn ang="0">
                  <a:pos x="csX985" y="csY985"/>
                </a:cxn>
                <a:cxn ang="0">
                  <a:pos x="csX986" y="csY986"/>
                </a:cxn>
                <a:cxn ang="0">
                  <a:pos x="csX987" y="csY987"/>
                </a:cxn>
                <a:cxn ang="0">
                  <a:pos x="csX988" y="csY988"/>
                </a:cxn>
                <a:cxn ang="0">
                  <a:pos x="csX989" y="csY989"/>
                </a:cxn>
                <a:cxn ang="0">
                  <a:pos x="csX990" y="csY990"/>
                </a:cxn>
                <a:cxn ang="0">
                  <a:pos x="csX991" y="csY991"/>
                </a:cxn>
                <a:cxn ang="0">
                  <a:pos x="csX992" y="csY992"/>
                </a:cxn>
                <a:cxn ang="0">
                  <a:pos x="csX993" y="csY993"/>
                </a:cxn>
                <a:cxn ang="0">
                  <a:pos x="csX994" y="csY994"/>
                </a:cxn>
                <a:cxn ang="0">
                  <a:pos x="csX995" y="csY995"/>
                </a:cxn>
                <a:cxn ang="0">
                  <a:pos x="csX996" y="csY996"/>
                </a:cxn>
                <a:cxn ang="0">
                  <a:pos x="csX997" y="csY997"/>
                </a:cxn>
                <a:cxn ang="0">
                  <a:pos x="csX998" y="csY998"/>
                </a:cxn>
                <a:cxn ang="0">
                  <a:pos x="csX999" y="csY999"/>
                </a:cxn>
                <a:cxn ang="0">
                  <a:pos x="csX1000" y="csY1000"/>
                </a:cxn>
                <a:cxn ang="0">
                  <a:pos x="csX1001" y="csY1001"/>
                </a:cxn>
                <a:cxn ang="0">
                  <a:pos x="csX1002" y="csY1002"/>
                </a:cxn>
                <a:cxn ang="0">
                  <a:pos x="csX1003" y="csY1003"/>
                </a:cxn>
                <a:cxn ang="0">
                  <a:pos x="csX1004" y="csY1004"/>
                </a:cxn>
                <a:cxn ang="0">
                  <a:pos x="csX1005" y="csY1005"/>
                </a:cxn>
                <a:cxn ang="0">
                  <a:pos x="csX1006" y="csY1006"/>
                </a:cxn>
                <a:cxn ang="0">
                  <a:pos x="csX1007" y="csY1007"/>
                </a:cxn>
                <a:cxn ang="0">
                  <a:pos x="csX1008" y="csY1008"/>
                </a:cxn>
                <a:cxn ang="0">
                  <a:pos x="csX1009" y="csY1009"/>
                </a:cxn>
                <a:cxn ang="0">
                  <a:pos x="csX1010" y="csY1010"/>
                </a:cxn>
                <a:cxn ang="0">
                  <a:pos x="csX1011" y="csY1011"/>
                </a:cxn>
                <a:cxn ang="0">
                  <a:pos x="csX1012" y="csY1012"/>
                </a:cxn>
                <a:cxn ang="0">
                  <a:pos x="csX1013" y="csY1013"/>
                </a:cxn>
                <a:cxn ang="0">
                  <a:pos x="csX1014" y="csY1014"/>
                </a:cxn>
                <a:cxn ang="0">
                  <a:pos x="csX1015" y="csY1015"/>
                </a:cxn>
                <a:cxn ang="0">
                  <a:pos x="csX1016" y="csY1016"/>
                </a:cxn>
                <a:cxn ang="0">
                  <a:pos x="csX1017" y="csY1017"/>
                </a:cxn>
                <a:cxn ang="0">
                  <a:pos x="csX1018" y="csY1018"/>
                </a:cxn>
                <a:cxn ang="0">
                  <a:pos x="csX1019" y="csY1019"/>
                </a:cxn>
                <a:cxn ang="0">
                  <a:pos x="csX1020" y="csY1020"/>
                </a:cxn>
                <a:cxn ang="0">
                  <a:pos x="csX1021" y="csY1021"/>
                </a:cxn>
                <a:cxn ang="0">
                  <a:pos x="csX1022" y="csY1022"/>
                </a:cxn>
                <a:cxn ang="0">
                  <a:pos x="csX1023" y="csY1023"/>
                </a:cxn>
                <a:cxn ang="0">
                  <a:pos x="csX1024" y="csY1024"/>
                </a:cxn>
                <a:cxn ang="0">
                  <a:pos x="csX1025" y="csY1025"/>
                </a:cxn>
                <a:cxn ang="0">
                  <a:pos x="csX1026" y="csY1026"/>
                </a:cxn>
                <a:cxn ang="0">
                  <a:pos x="csX1027" y="csY1027"/>
                </a:cxn>
                <a:cxn ang="0">
                  <a:pos x="csX1028" y="csY1028"/>
                </a:cxn>
                <a:cxn ang="0">
                  <a:pos x="csX1029" y="csY1029"/>
                </a:cxn>
                <a:cxn ang="0">
                  <a:pos x="csX1030" y="csY1030"/>
                </a:cxn>
                <a:cxn ang="0">
                  <a:pos x="csX1031" y="csY1031"/>
                </a:cxn>
                <a:cxn ang="0">
                  <a:pos x="csX1032" y="csY1032"/>
                </a:cxn>
                <a:cxn ang="0">
                  <a:pos x="csX1033" y="csY1033"/>
                </a:cxn>
                <a:cxn ang="0">
                  <a:pos x="csX1034" y="csY1034"/>
                </a:cxn>
                <a:cxn ang="0">
                  <a:pos x="csX1035" y="csY1035"/>
                </a:cxn>
                <a:cxn ang="0">
                  <a:pos x="csX1036" y="csY1036"/>
                </a:cxn>
                <a:cxn ang="0">
                  <a:pos x="csX1037" y="csY1037"/>
                </a:cxn>
                <a:cxn ang="0">
                  <a:pos x="csX1038" y="csY1038"/>
                </a:cxn>
                <a:cxn ang="0">
                  <a:pos x="csX1039" y="csY1039"/>
                </a:cxn>
                <a:cxn ang="0">
                  <a:pos x="csX1040" y="csY1040"/>
                </a:cxn>
                <a:cxn ang="0">
                  <a:pos x="csX1041" y="csY1041"/>
                </a:cxn>
                <a:cxn ang="0">
                  <a:pos x="csX1042" y="csY1042"/>
                </a:cxn>
                <a:cxn ang="0">
                  <a:pos x="csX1043" y="csY1043"/>
                </a:cxn>
                <a:cxn ang="0">
                  <a:pos x="csX1044" y="csY1044"/>
                </a:cxn>
                <a:cxn ang="0">
                  <a:pos x="csX1045" y="csY1045"/>
                </a:cxn>
                <a:cxn ang="0">
                  <a:pos x="csX1046" y="csY1046"/>
                </a:cxn>
                <a:cxn ang="0">
                  <a:pos x="csX1047" y="csY1047"/>
                </a:cxn>
                <a:cxn ang="0">
                  <a:pos x="csX1048" y="csY1048"/>
                </a:cxn>
                <a:cxn ang="0">
                  <a:pos x="csX1049" y="csY1049"/>
                </a:cxn>
                <a:cxn ang="0">
                  <a:pos x="csX1050" y="csY1050"/>
                </a:cxn>
                <a:cxn ang="0">
                  <a:pos x="csX1051" y="csY1051"/>
                </a:cxn>
                <a:cxn ang="0">
                  <a:pos x="csX1052" y="csY1052"/>
                </a:cxn>
                <a:cxn ang="0">
                  <a:pos x="csX1053" y="csY1053"/>
                </a:cxn>
                <a:cxn ang="0">
                  <a:pos x="csX1054" y="csY1054"/>
                </a:cxn>
                <a:cxn ang="0">
                  <a:pos x="csX1055" y="csY1055"/>
                </a:cxn>
                <a:cxn ang="0">
                  <a:pos x="csX1056" y="csY1056"/>
                </a:cxn>
                <a:cxn ang="0">
                  <a:pos x="csX1057" y="csY1057"/>
                </a:cxn>
                <a:cxn ang="0">
                  <a:pos x="csX1058" y="csY1058"/>
                </a:cxn>
                <a:cxn ang="0">
                  <a:pos x="csX1059" y="csY1059"/>
                </a:cxn>
                <a:cxn ang="0">
                  <a:pos x="csX1060" y="csY1060"/>
                </a:cxn>
                <a:cxn ang="0">
                  <a:pos x="csX1061" y="csY1061"/>
                </a:cxn>
                <a:cxn ang="0">
                  <a:pos x="csX1062" y="csY1062"/>
                </a:cxn>
                <a:cxn ang="0">
                  <a:pos x="csX1063" y="csY1063"/>
                </a:cxn>
                <a:cxn ang="0">
                  <a:pos x="csX1064" y="csY1064"/>
                </a:cxn>
                <a:cxn ang="0">
                  <a:pos x="csX1065" y="csY1065"/>
                </a:cxn>
                <a:cxn ang="0">
                  <a:pos x="csX1066" y="csY1066"/>
                </a:cxn>
                <a:cxn ang="0">
                  <a:pos x="csX1067" y="csY1067"/>
                </a:cxn>
                <a:cxn ang="0">
                  <a:pos x="csX1068" y="csY1068"/>
                </a:cxn>
                <a:cxn ang="0">
                  <a:pos x="csX1069" y="csY1069"/>
                </a:cxn>
                <a:cxn ang="0">
                  <a:pos x="csX1070" y="csY1070"/>
                </a:cxn>
                <a:cxn ang="0">
                  <a:pos x="csX1071" y="csY1071"/>
                </a:cxn>
                <a:cxn ang="0">
                  <a:pos x="csX1072" y="csY1072"/>
                </a:cxn>
                <a:cxn ang="0">
                  <a:pos x="csX1073" y="csY1073"/>
                </a:cxn>
                <a:cxn ang="0">
                  <a:pos x="csX1074" y="csY1074"/>
                </a:cxn>
                <a:cxn ang="0">
                  <a:pos x="csX1075" y="csY1075"/>
                </a:cxn>
                <a:cxn ang="0">
                  <a:pos x="csX1076" y="csY1076"/>
                </a:cxn>
                <a:cxn ang="0">
                  <a:pos x="csX1077" y="csY1077"/>
                </a:cxn>
                <a:cxn ang="0">
                  <a:pos x="csX1078" y="csY1078"/>
                </a:cxn>
                <a:cxn ang="0">
                  <a:pos x="csX1079" y="csY1079"/>
                </a:cxn>
                <a:cxn ang="0">
                  <a:pos x="csX1080" y="csY1080"/>
                </a:cxn>
                <a:cxn ang="0">
                  <a:pos x="csX1081" y="csY1081"/>
                </a:cxn>
                <a:cxn ang="0">
                  <a:pos x="csX1082" y="csY1082"/>
                </a:cxn>
                <a:cxn ang="0">
                  <a:pos x="csX1083" y="csY1083"/>
                </a:cxn>
                <a:cxn ang="0">
                  <a:pos x="csX1084" y="csY1084"/>
                </a:cxn>
                <a:cxn ang="0">
                  <a:pos x="csX1085" y="csY1085"/>
                </a:cxn>
                <a:cxn ang="0">
                  <a:pos x="csX1086" y="csY1086"/>
                </a:cxn>
                <a:cxn ang="0">
                  <a:pos x="csX1087" y="csY1087"/>
                </a:cxn>
                <a:cxn ang="0">
                  <a:pos x="csX1088" y="csY1088"/>
                </a:cxn>
                <a:cxn ang="0">
                  <a:pos x="csX1089" y="csY1089"/>
                </a:cxn>
                <a:cxn ang="0">
                  <a:pos x="csX1090" y="csY1090"/>
                </a:cxn>
                <a:cxn ang="0">
                  <a:pos x="csX1091" y="csY1091"/>
                </a:cxn>
                <a:cxn ang="0">
                  <a:pos x="csX1092" y="csY1092"/>
                </a:cxn>
                <a:cxn ang="0">
                  <a:pos x="csX1093" y="csY1093"/>
                </a:cxn>
                <a:cxn ang="0">
                  <a:pos x="csX1094" y="csY1094"/>
                </a:cxn>
                <a:cxn ang="0">
                  <a:pos x="csX1095" y="csY1095"/>
                </a:cxn>
                <a:cxn ang="0">
                  <a:pos x="csX1096" y="csY1096"/>
                </a:cxn>
                <a:cxn ang="0">
                  <a:pos x="csX1097" y="csY1097"/>
                </a:cxn>
                <a:cxn ang="0">
                  <a:pos x="csX1098" y="csY1098"/>
                </a:cxn>
                <a:cxn ang="0">
                  <a:pos x="csX1099" y="csY1099"/>
                </a:cxn>
                <a:cxn ang="0">
                  <a:pos x="csX1100" y="csY1100"/>
                </a:cxn>
                <a:cxn ang="0">
                  <a:pos x="csX1101" y="csY1101"/>
                </a:cxn>
                <a:cxn ang="0">
                  <a:pos x="csX1102" y="csY1102"/>
                </a:cxn>
                <a:cxn ang="0">
                  <a:pos x="csX1103" y="csY1103"/>
                </a:cxn>
                <a:cxn ang="0">
                  <a:pos x="csX1104" y="csY1104"/>
                </a:cxn>
                <a:cxn ang="0">
                  <a:pos x="csX1105" y="csY1105"/>
                </a:cxn>
                <a:cxn ang="0">
                  <a:pos x="csX1106" y="csY1106"/>
                </a:cxn>
                <a:cxn ang="0">
                  <a:pos x="csX1107" y="csY1107"/>
                </a:cxn>
                <a:cxn ang="0">
                  <a:pos x="csX1108" y="csY1108"/>
                </a:cxn>
                <a:cxn ang="0">
                  <a:pos x="csX1109" y="csY1109"/>
                </a:cxn>
                <a:cxn ang="0">
                  <a:pos x="csX1110" y="csY1110"/>
                </a:cxn>
                <a:cxn ang="0">
                  <a:pos x="csX1111" y="csY1111"/>
                </a:cxn>
                <a:cxn ang="0">
                  <a:pos x="csX1112" y="csY1112"/>
                </a:cxn>
                <a:cxn ang="0">
                  <a:pos x="csX1113" y="csY1113"/>
                </a:cxn>
                <a:cxn ang="0">
                  <a:pos x="csX1114" y="csY1114"/>
                </a:cxn>
                <a:cxn ang="0">
                  <a:pos x="csX1115" y="csY1115"/>
                </a:cxn>
                <a:cxn ang="0">
                  <a:pos x="csX1116" y="csY1116"/>
                </a:cxn>
                <a:cxn ang="0">
                  <a:pos x="csX1117" y="csY1117"/>
                </a:cxn>
                <a:cxn ang="0">
                  <a:pos x="csX1118" y="csY1118"/>
                </a:cxn>
                <a:cxn ang="0">
                  <a:pos x="csX1119" y="csY1119"/>
                </a:cxn>
                <a:cxn ang="0">
                  <a:pos x="csX1120" y="csY1120"/>
                </a:cxn>
                <a:cxn ang="0">
                  <a:pos x="csX1121" y="csY1121"/>
                </a:cxn>
                <a:cxn ang="0">
                  <a:pos x="csX1122" y="csY1122"/>
                </a:cxn>
                <a:cxn ang="0">
                  <a:pos x="csX1123" y="csY1123"/>
                </a:cxn>
                <a:cxn ang="0">
                  <a:pos x="csX1124" y="csY1124"/>
                </a:cxn>
                <a:cxn ang="0">
                  <a:pos x="csX1125" y="csY1125"/>
                </a:cxn>
                <a:cxn ang="0">
                  <a:pos x="csX1126" y="csY1126"/>
                </a:cxn>
                <a:cxn ang="0">
                  <a:pos x="csX1127" y="csY1127"/>
                </a:cxn>
                <a:cxn ang="0">
                  <a:pos x="csX1128" y="csY1128"/>
                </a:cxn>
                <a:cxn ang="0">
                  <a:pos x="csX1129" y="csY1129"/>
                </a:cxn>
                <a:cxn ang="0">
                  <a:pos x="csX1130" y="csY1130"/>
                </a:cxn>
                <a:cxn ang="0">
                  <a:pos x="csX1131" y="csY1131"/>
                </a:cxn>
                <a:cxn ang="0">
                  <a:pos x="csX1132" y="csY1132"/>
                </a:cxn>
                <a:cxn ang="0">
                  <a:pos x="csX1133" y="csY1133"/>
                </a:cxn>
                <a:cxn ang="0">
                  <a:pos x="csX1134" y="csY1134"/>
                </a:cxn>
                <a:cxn ang="0">
                  <a:pos x="csX1135" y="csY1135"/>
                </a:cxn>
                <a:cxn ang="0">
                  <a:pos x="csX1136" y="csY1136"/>
                </a:cxn>
                <a:cxn ang="0">
                  <a:pos x="csX1137" y="csY1137"/>
                </a:cxn>
                <a:cxn ang="0">
                  <a:pos x="csX1138" y="csY1138"/>
                </a:cxn>
                <a:cxn ang="0">
                  <a:pos x="csX1139" y="csY1139"/>
                </a:cxn>
                <a:cxn ang="0">
                  <a:pos x="csX1140" y="csY1140"/>
                </a:cxn>
                <a:cxn ang="0">
                  <a:pos x="csX1141" y="csY1141"/>
                </a:cxn>
                <a:cxn ang="0">
                  <a:pos x="csX1142" y="csY1142"/>
                </a:cxn>
                <a:cxn ang="0">
                  <a:pos x="csX1143" y="csY1143"/>
                </a:cxn>
                <a:cxn ang="0">
                  <a:pos x="csX1144" y="csY1144"/>
                </a:cxn>
                <a:cxn ang="0">
                  <a:pos x="csX1145" y="csY1145"/>
                </a:cxn>
                <a:cxn ang="0">
                  <a:pos x="csX1146" y="csY1146"/>
                </a:cxn>
                <a:cxn ang="0">
                  <a:pos x="csX1147" y="csY1147"/>
                </a:cxn>
                <a:cxn ang="0">
                  <a:pos x="csX1148" y="csY1148"/>
                </a:cxn>
                <a:cxn ang="0">
                  <a:pos x="csX1149" y="csY1149"/>
                </a:cxn>
                <a:cxn ang="0">
                  <a:pos x="csX1150" y="csY1150"/>
                </a:cxn>
                <a:cxn ang="0">
                  <a:pos x="csX1151" y="csY1151"/>
                </a:cxn>
                <a:cxn ang="0">
                  <a:pos x="csX1152" y="csY1152"/>
                </a:cxn>
                <a:cxn ang="0">
                  <a:pos x="csX1153" y="csY1153"/>
                </a:cxn>
                <a:cxn ang="0">
                  <a:pos x="csX1154" y="csY1154"/>
                </a:cxn>
                <a:cxn ang="0">
                  <a:pos x="csX1155" y="csY1155"/>
                </a:cxn>
                <a:cxn ang="0">
                  <a:pos x="csX1156" y="csY1156"/>
                </a:cxn>
                <a:cxn ang="0">
                  <a:pos x="csX1157" y="csY1157"/>
                </a:cxn>
                <a:cxn ang="0">
                  <a:pos x="csX1158" y="csY1158"/>
                </a:cxn>
                <a:cxn ang="0">
                  <a:pos x="csX1159" y="csY1159"/>
                </a:cxn>
                <a:cxn ang="0">
                  <a:pos x="csX1160" y="csY1160"/>
                </a:cxn>
                <a:cxn ang="0">
                  <a:pos x="csX1161" y="csY1161"/>
                </a:cxn>
                <a:cxn ang="0">
                  <a:pos x="csX1162" y="csY1162"/>
                </a:cxn>
                <a:cxn ang="0">
                  <a:pos x="csX1163" y="csY1163"/>
                </a:cxn>
                <a:cxn ang="0">
                  <a:pos x="csX1164" y="csY1164"/>
                </a:cxn>
                <a:cxn ang="0">
                  <a:pos x="csX1165" y="csY1165"/>
                </a:cxn>
                <a:cxn ang="0">
                  <a:pos x="csX1166" y="csY1166"/>
                </a:cxn>
                <a:cxn ang="0">
                  <a:pos x="csX1167" y="csY1167"/>
                </a:cxn>
                <a:cxn ang="0">
                  <a:pos x="csX1168" y="csY1168"/>
                </a:cxn>
                <a:cxn ang="0">
                  <a:pos x="csX1169" y="csY1169"/>
                </a:cxn>
                <a:cxn ang="0">
                  <a:pos x="csX1170" y="csY1170"/>
                </a:cxn>
                <a:cxn ang="0">
                  <a:pos x="csX1171" y="csY1171"/>
                </a:cxn>
                <a:cxn ang="0">
                  <a:pos x="csX1172" y="csY1172"/>
                </a:cxn>
                <a:cxn ang="0">
                  <a:pos x="csX1173" y="csY1173"/>
                </a:cxn>
                <a:cxn ang="0">
                  <a:pos x="csX1174" y="csY1174"/>
                </a:cxn>
                <a:cxn ang="0">
                  <a:pos x="csX1175" y="csY1175"/>
                </a:cxn>
                <a:cxn ang="0">
                  <a:pos x="csX1176" y="csY1176"/>
                </a:cxn>
                <a:cxn ang="0">
                  <a:pos x="csX1177" y="csY1177"/>
                </a:cxn>
                <a:cxn ang="0">
                  <a:pos x="csX1178" y="csY1178"/>
                </a:cxn>
                <a:cxn ang="0">
                  <a:pos x="csX1179" y="csY1179"/>
                </a:cxn>
                <a:cxn ang="0">
                  <a:pos x="csX1180" y="csY1180"/>
                </a:cxn>
                <a:cxn ang="0">
                  <a:pos x="csX1181" y="csY1181"/>
                </a:cxn>
                <a:cxn ang="0">
                  <a:pos x="csX1182" y="csY1182"/>
                </a:cxn>
                <a:cxn ang="0">
                  <a:pos x="csX1183" y="csY1183"/>
                </a:cxn>
                <a:cxn ang="0">
                  <a:pos x="csX1184" y="csY1184"/>
                </a:cxn>
                <a:cxn ang="0">
                  <a:pos x="csX1185" y="csY1185"/>
                </a:cxn>
                <a:cxn ang="0">
                  <a:pos x="csX1186" y="csY1186"/>
                </a:cxn>
                <a:cxn ang="0">
                  <a:pos x="csX1187" y="csY1187"/>
                </a:cxn>
                <a:cxn ang="0">
                  <a:pos x="csX1188" y="csY1188"/>
                </a:cxn>
                <a:cxn ang="0">
                  <a:pos x="csX1189" y="csY1189"/>
                </a:cxn>
                <a:cxn ang="0">
                  <a:pos x="csX1190" y="csY1190"/>
                </a:cxn>
                <a:cxn ang="0">
                  <a:pos x="csX1191" y="csY1191"/>
                </a:cxn>
                <a:cxn ang="0">
                  <a:pos x="csX1192" y="csY1192"/>
                </a:cxn>
                <a:cxn ang="0">
                  <a:pos x="csX1193" y="csY1193"/>
                </a:cxn>
                <a:cxn ang="0">
                  <a:pos x="csX1194" y="csY1194"/>
                </a:cxn>
                <a:cxn ang="0">
                  <a:pos x="csX1195" y="csY1195"/>
                </a:cxn>
                <a:cxn ang="0">
                  <a:pos x="csX1196" y="csY1196"/>
                </a:cxn>
                <a:cxn ang="0">
                  <a:pos x="csX1197" y="csY1197"/>
                </a:cxn>
                <a:cxn ang="0">
                  <a:pos x="csX1198" y="csY1198"/>
                </a:cxn>
                <a:cxn ang="0">
                  <a:pos x="csX1199" y="csY1199"/>
                </a:cxn>
                <a:cxn ang="0">
                  <a:pos x="csX1200" y="csY1200"/>
                </a:cxn>
                <a:cxn ang="0">
                  <a:pos x="csX1201" y="csY1201"/>
                </a:cxn>
                <a:cxn ang="0">
                  <a:pos x="csX1202" y="csY1202"/>
                </a:cxn>
                <a:cxn ang="0">
                  <a:pos x="csX1203" y="csY1203"/>
                </a:cxn>
                <a:cxn ang="0">
                  <a:pos x="csX1204" y="csY1204"/>
                </a:cxn>
                <a:cxn ang="0">
                  <a:pos x="csX1205" y="csY1205"/>
                </a:cxn>
                <a:cxn ang="0">
                  <a:pos x="csX1206" y="csY1206"/>
                </a:cxn>
                <a:cxn ang="0">
                  <a:pos x="csX1207" y="csY1207"/>
                </a:cxn>
                <a:cxn ang="0">
                  <a:pos x="csX1208" y="csY1208"/>
                </a:cxn>
                <a:cxn ang="0">
                  <a:pos x="csX1209" y="csY1209"/>
                </a:cxn>
                <a:cxn ang="0">
                  <a:pos x="csX1210" y="csY1210"/>
                </a:cxn>
                <a:cxn ang="0">
                  <a:pos x="csX1211" y="csY1211"/>
                </a:cxn>
                <a:cxn ang="0">
                  <a:pos x="csX1212" y="csY1212"/>
                </a:cxn>
                <a:cxn ang="0">
                  <a:pos x="csX1213" y="csY1213"/>
                </a:cxn>
                <a:cxn ang="0">
                  <a:pos x="csX1214" y="csY1214"/>
                </a:cxn>
                <a:cxn ang="0">
                  <a:pos x="csX1215" y="csY1215"/>
                </a:cxn>
                <a:cxn ang="0">
                  <a:pos x="csX1216" y="csY1216"/>
                </a:cxn>
                <a:cxn ang="0">
                  <a:pos x="csX1217" y="csY1217"/>
                </a:cxn>
                <a:cxn ang="0">
                  <a:pos x="csX1218" y="csY1218"/>
                </a:cxn>
                <a:cxn ang="0">
                  <a:pos x="csX1219" y="csY1219"/>
                </a:cxn>
                <a:cxn ang="0">
                  <a:pos x="csX1220" y="csY1220"/>
                </a:cxn>
                <a:cxn ang="0">
                  <a:pos x="csX1221" y="csY1221"/>
                </a:cxn>
                <a:cxn ang="0">
                  <a:pos x="csX1222" y="csY1222"/>
                </a:cxn>
                <a:cxn ang="0">
                  <a:pos x="csX1223" y="csY1223"/>
                </a:cxn>
                <a:cxn ang="0">
                  <a:pos x="csX1224" y="csY1224"/>
                </a:cxn>
                <a:cxn ang="0">
                  <a:pos x="csX1225" y="csY1225"/>
                </a:cxn>
                <a:cxn ang="0">
                  <a:pos x="csX1226" y="csY1226"/>
                </a:cxn>
                <a:cxn ang="0">
                  <a:pos x="csX1227" y="csY1227"/>
                </a:cxn>
                <a:cxn ang="0">
                  <a:pos x="csX1228" y="csY1228"/>
                </a:cxn>
                <a:cxn ang="0">
                  <a:pos x="csX1229" y="csY1229"/>
                </a:cxn>
                <a:cxn ang="0">
                  <a:pos x="csX1230" y="csY1230"/>
                </a:cxn>
                <a:cxn ang="0">
                  <a:pos x="csX1231" y="csY1231"/>
                </a:cxn>
                <a:cxn ang="0">
                  <a:pos x="csX1232" y="csY1232"/>
                </a:cxn>
                <a:cxn ang="0">
                  <a:pos x="csX1233" y="csY1233"/>
                </a:cxn>
                <a:cxn ang="0">
                  <a:pos x="csX1234" y="csY1234"/>
                </a:cxn>
                <a:cxn ang="0">
                  <a:pos x="csX1235" y="csY1235"/>
                </a:cxn>
                <a:cxn ang="0">
                  <a:pos x="csX1236" y="csY1236"/>
                </a:cxn>
                <a:cxn ang="0">
                  <a:pos x="csX1237" y="csY1237"/>
                </a:cxn>
                <a:cxn ang="0">
                  <a:pos x="csX1238" y="csY1238"/>
                </a:cxn>
                <a:cxn ang="0">
                  <a:pos x="csX1239" y="csY1239"/>
                </a:cxn>
                <a:cxn ang="0">
                  <a:pos x="csX1240" y="csY1240"/>
                </a:cxn>
                <a:cxn ang="0">
                  <a:pos x="csX1241" y="csY1241"/>
                </a:cxn>
                <a:cxn ang="0">
                  <a:pos x="csX1242" y="csY1242"/>
                </a:cxn>
                <a:cxn ang="0">
                  <a:pos x="csX1243" y="csY1243"/>
                </a:cxn>
                <a:cxn ang="0">
                  <a:pos x="csX1244" y="csY1244"/>
                </a:cxn>
                <a:cxn ang="0">
                  <a:pos x="csX1245" y="csY1245"/>
                </a:cxn>
                <a:cxn ang="0">
                  <a:pos x="csX1246" y="csY1246"/>
                </a:cxn>
                <a:cxn ang="0">
                  <a:pos x="csX1247" y="csY1247"/>
                </a:cxn>
                <a:cxn ang="0">
                  <a:pos x="csX1248" y="csY1248"/>
                </a:cxn>
                <a:cxn ang="0">
                  <a:pos x="csX1249" y="csY1249"/>
                </a:cxn>
                <a:cxn ang="0">
                  <a:pos x="csX1250" y="csY1250"/>
                </a:cxn>
                <a:cxn ang="0">
                  <a:pos x="csX1251" y="csY1251"/>
                </a:cxn>
                <a:cxn ang="0">
                  <a:pos x="csX1252" y="csY1252"/>
                </a:cxn>
                <a:cxn ang="0">
                  <a:pos x="csX1253" y="csY1253"/>
                </a:cxn>
                <a:cxn ang="0">
                  <a:pos x="csX1254" y="csY1254"/>
                </a:cxn>
                <a:cxn ang="0">
                  <a:pos x="csX1255" y="csY1255"/>
                </a:cxn>
                <a:cxn ang="0">
                  <a:pos x="csX1256" y="csY1256"/>
                </a:cxn>
                <a:cxn ang="0">
                  <a:pos x="csX1257" y="csY1257"/>
                </a:cxn>
                <a:cxn ang="0">
                  <a:pos x="csX1258" y="csY1258"/>
                </a:cxn>
                <a:cxn ang="0">
                  <a:pos x="csX1259" y="csY1259"/>
                </a:cxn>
                <a:cxn ang="0">
                  <a:pos x="csX1260" y="csY1260"/>
                </a:cxn>
                <a:cxn ang="0">
                  <a:pos x="csX1261" y="csY1261"/>
                </a:cxn>
                <a:cxn ang="0">
                  <a:pos x="csX1262" y="csY1262"/>
                </a:cxn>
                <a:cxn ang="0">
                  <a:pos x="csX1263" y="csY1263"/>
                </a:cxn>
                <a:cxn ang="0">
                  <a:pos x="csX1264" y="csY1264"/>
                </a:cxn>
                <a:cxn ang="0">
                  <a:pos x="csX1265" y="csY1265"/>
                </a:cxn>
                <a:cxn ang="0">
                  <a:pos x="csX1266" y="csY1266"/>
                </a:cxn>
                <a:cxn ang="0">
                  <a:pos x="csX1267" y="csY1267"/>
                </a:cxn>
                <a:cxn ang="0">
                  <a:pos x="csX1268" y="csY1268"/>
                </a:cxn>
                <a:cxn ang="0">
                  <a:pos x="csX1269" y="csY1269"/>
                </a:cxn>
                <a:cxn ang="0">
                  <a:pos x="csX1270" y="csY1270"/>
                </a:cxn>
                <a:cxn ang="0">
                  <a:pos x="csX1271" y="csY1271"/>
                </a:cxn>
                <a:cxn ang="0">
                  <a:pos x="csX1272" y="csY1272"/>
                </a:cxn>
                <a:cxn ang="0">
                  <a:pos x="csX1273" y="csY1273"/>
                </a:cxn>
                <a:cxn ang="0">
                  <a:pos x="csX1274" y="csY1274"/>
                </a:cxn>
                <a:cxn ang="0">
                  <a:pos x="csX1275" y="csY1275"/>
                </a:cxn>
                <a:cxn ang="0">
                  <a:pos x="csX1276" y="csY1276"/>
                </a:cxn>
                <a:cxn ang="0">
                  <a:pos x="csX1277" y="csY1277"/>
                </a:cxn>
                <a:cxn ang="0">
                  <a:pos x="csX1278" y="csY1278"/>
                </a:cxn>
                <a:cxn ang="0">
                  <a:pos x="csX1279" y="csY1279"/>
                </a:cxn>
                <a:cxn ang="0">
                  <a:pos x="csX1280" y="csY1280"/>
                </a:cxn>
                <a:cxn ang="0">
                  <a:pos x="csX1281" y="csY1281"/>
                </a:cxn>
                <a:cxn ang="0">
                  <a:pos x="csX1282" y="csY1282"/>
                </a:cxn>
                <a:cxn ang="0">
                  <a:pos x="csX1283" y="csY1283"/>
                </a:cxn>
                <a:cxn ang="0">
                  <a:pos x="csX1284" y="csY1284"/>
                </a:cxn>
                <a:cxn ang="0">
                  <a:pos x="csX1285" y="csY1285"/>
                </a:cxn>
                <a:cxn ang="0">
                  <a:pos x="csX1286" y="csY1286"/>
                </a:cxn>
                <a:cxn ang="0">
                  <a:pos x="csX1287" y="csY1287"/>
                </a:cxn>
                <a:cxn ang="0">
                  <a:pos x="csX1288" y="csY1288"/>
                </a:cxn>
                <a:cxn ang="0">
                  <a:pos x="csX1289" y="csY1289"/>
                </a:cxn>
                <a:cxn ang="0">
                  <a:pos x="csX1290" y="csY1290"/>
                </a:cxn>
                <a:cxn ang="0">
                  <a:pos x="csX1291" y="csY1291"/>
                </a:cxn>
                <a:cxn ang="0">
                  <a:pos x="csX1292" y="csY1292"/>
                </a:cxn>
                <a:cxn ang="0">
                  <a:pos x="csX1293" y="csY1293"/>
                </a:cxn>
                <a:cxn ang="0">
                  <a:pos x="csX1294" y="csY1294"/>
                </a:cxn>
                <a:cxn ang="0">
                  <a:pos x="csX1295" y="csY1295"/>
                </a:cxn>
                <a:cxn ang="0">
                  <a:pos x="csX1296" y="csY1296"/>
                </a:cxn>
                <a:cxn ang="0">
                  <a:pos x="csX1297" y="csY1297"/>
                </a:cxn>
                <a:cxn ang="0">
                  <a:pos x="csX1298" y="csY1298"/>
                </a:cxn>
                <a:cxn ang="0">
                  <a:pos x="csX1299" y="csY1299"/>
                </a:cxn>
                <a:cxn ang="0">
                  <a:pos x="csX1300" y="csY1300"/>
                </a:cxn>
                <a:cxn ang="0">
                  <a:pos x="csX1301" y="csY1301"/>
                </a:cxn>
                <a:cxn ang="0">
                  <a:pos x="csX1302" y="csY1302"/>
                </a:cxn>
                <a:cxn ang="0">
                  <a:pos x="csX1303" y="csY1303"/>
                </a:cxn>
                <a:cxn ang="0">
                  <a:pos x="csX1304" y="csY1304"/>
                </a:cxn>
                <a:cxn ang="0">
                  <a:pos x="csX1305" y="csY1305"/>
                </a:cxn>
                <a:cxn ang="0">
                  <a:pos x="csX1306" y="csY1306"/>
                </a:cxn>
                <a:cxn ang="0">
                  <a:pos x="csX1307" y="csY1307"/>
                </a:cxn>
                <a:cxn ang="0">
                  <a:pos x="csX1308" y="csY1308"/>
                </a:cxn>
                <a:cxn ang="0">
                  <a:pos x="csX1309" y="csY1309"/>
                </a:cxn>
                <a:cxn ang="0">
                  <a:pos x="csX1310" y="csY1310"/>
                </a:cxn>
                <a:cxn ang="0">
                  <a:pos x="csX1311" y="csY1311"/>
                </a:cxn>
                <a:cxn ang="0">
                  <a:pos x="csX1312" y="csY1312"/>
                </a:cxn>
                <a:cxn ang="0">
                  <a:pos x="csX1313" y="csY1313"/>
                </a:cxn>
                <a:cxn ang="0">
                  <a:pos x="csX1314" y="csY1314"/>
                </a:cxn>
                <a:cxn ang="0">
                  <a:pos x="csX1315" y="csY1315"/>
                </a:cxn>
                <a:cxn ang="0">
                  <a:pos x="csX1316" y="csY1316"/>
                </a:cxn>
                <a:cxn ang="0">
                  <a:pos x="csX1317" y="csY1317"/>
                </a:cxn>
                <a:cxn ang="0">
                  <a:pos x="csX1318" y="csY1318"/>
                </a:cxn>
                <a:cxn ang="0">
                  <a:pos x="csX1319" y="csY1319"/>
                </a:cxn>
                <a:cxn ang="0">
                  <a:pos x="csX1320" y="csY1320"/>
                </a:cxn>
                <a:cxn ang="0">
                  <a:pos x="csX1321" y="csY1321"/>
                </a:cxn>
                <a:cxn ang="0">
                  <a:pos x="csX1322" y="csY1322"/>
                </a:cxn>
                <a:cxn ang="0">
                  <a:pos x="csX1323" y="csY1323"/>
                </a:cxn>
                <a:cxn ang="0">
                  <a:pos x="csX1324" y="csY1324"/>
                </a:cxn>
                <a:cxn ang="0">
                  <a:pos x="csX1325" y="csY1325"/>
                </a:cxn>
                <a:cxn ang="0">
                  <a:pos x="csX1326" y="csY1326"/>
                </a:cxn>
                <a:cxn ang="0">
                  <a:pos x="csX1327" y="csY1327"/>
                </a:cxn>
                <a:cxn ang="0">
                  <a:pos x="csX1328" y="csY1328"/>
                </a:cxn>
                <a:cxn ang="0">
                  <a:pos x="csX1329" y="csY1329"/>
                </a:cxn>
                <a:cxn ang="0">
                  <a:pos x="csX1330" y="csY1330"/>
                </a:cxn>
                <a:cxn ang="0">
                  <a:pos x="csX1331" y="csY1331"/>
                </a:cxn>
                <a:cxn ang="0">
                  <a:pos x="csX1332" y="csY1332"/>
                </a:cxn>
                <a:cxn ang="0">
                  <a:pos x="csX1333" y="csY1333"/>
                </a:cxn>
                <a:cxn ang="0">
                  <a:pos x="csX1334" y="csY1334"/>
                </a:cxn>
                <a:cxn ang="0">
                  <a:pos x="csX1335" y="csY1335"/>
                </a:cxn>
                <a:cxn ang="0">
                  <a:pos x="csX1336" y="csY1336"/>
                </a:cxn>
                <a:cxn ang="0">
                  <a:pos x="csX1337" y="csY1337"/>
                </a:cxn>
                <a:cxn ang="0">
                  <a:pos x="csX1338" y="csY1338"/>
                </a:cxn>
                <a:cxn ang="0">
                  <a:pos x="csX1339" y="csY1339"/>
                </a:cxn>
                <a:cxn ang="0">
                  <a:pos x="csX1340" y="csY1340"/>
                </a:cxn>
                <a:cxn ang="0">
                  <a:pos x="csX1341" y="csY1341"/>
                </a:cxn>
                <a:cxn ang="0">
                  <a:pos x="csX1342" y="csY1342"/>
                </a:cxn>
                <a:cxn ang="0">
                  <a:pos x="csX1343" y="csY1343"/>
                </a:cxn>
                <a:cxn ang="0">
                  <a:pos x="csX1344" y="csY1344"/>
                </a:cxn>
                <a:cxn ang="0">
                  <a:pos x="csX1345" y="csY1345"/>
                </a:cxn>
                <a:cxn ang="0">
                  <a:pos x="csX1346" y="csY1346"/>
                </a:cxn>
                <a:cxn ang="0">
                  <a:pos x="csX1347" y="csY1347"/>
                </a:cxn>
                <a:cxn ang="0">
                  <a:pos x="csX1348" y="csY1348"/>
                </a:cxn>
                <a:cxn ang="0">
                  <a:pos x="csX1349" y="csY1349"/>
                </a:cxn>
                <a:cxn ang="0">
                  <a:pos x="csX1350" y="csY1350"/>
                </a:cxn>
                <a:cxn ang="0">
                  <a:pos x="csX1351" y="csY1351"/>
                </a:cxn>
                <a:cxn ang="0">
                  <a:pos x="csX1352" y="csY1352"/>
                </a:cxn>
                <a:cxn ang="0">
                  <a:pos x="csX1353" y="csY1353"/>
                </a:cxn>
                <a:cxn ang="0">
                  <a:pos x="csX1354" y="csY1354"/>
                </a:cxn>
                <a:cxn ang="0">
                  <a:pos x="csX1355" y="csY1355"/>
                </a:cxn>
                <a:cxn ang="0">
                  <a:pos x="csX1356" y="csY1356"/>
                </a:cxn>
                <a:cxn ang="0">
                  <a:pos x="csX1357" y="csY1357"/>
                </a:cxn>
                <a:cxn ang="0">
                  <a:pos x="csX1358" y="csY1358"/>
                </a:cxn>
                <a:cxn ang="0">
                  <a:pos x="csX1359" y="csY1359"/>
                </a:cxn>
                <a:cxn ang="0">
                  <a:pos x="csX1360" y="csY1360"/>
                </a:cxn>
                <a:cxn ang="0">
                  <a:pos x="csX1361" y="csY1361"/>
                </a:cxn>
                <a:cxn ang="0">
                  <a:pos x="csX1362" y="csY1362"/>
                </a:cxn>
                <a:cxn ang="0">
                  <a:pos x="csX1363" y="csY1363"/>
                </a:cxn>
                <a:cxn ang="0">
                  <a:pos x="csX1364" y="csY1364"/>
                </a:cxn>
                <a:cxn ang="0">
                  <a:pos x="csX1365" y="csY1365"/>
                </a:cxn>
                <a:cxn ang="0">
                  <a:pos x="csX1366" y="csY1366"/>
                </a:cxn>
                <a:cxn ang="0">
                  <a:pos x="csX1367" y="csY1367"/>
                </a:cxn>
                <a:cxn ang="0">
                  <a:pos x="csX1368" y="csY1368"/>
                </a:cxn>
                <a:cxn ang="0">
                  <a:pos x="csX1369" y="csY1369"/>
                </a:cxn>
                <a:cxn ang="0">
                  <a:pos x="csX1370" y="csY1370"/>
                </a:cxn>
                <a:cxn ang="0">
                  <a:pos x="csX1371" y="csY1371"/>
                </a:cxn>
                <a:cxn ang="0">
                  <a:pos x="csX1372" y="csY1372"/>
                </a:cxn>
                <a:cxn ang="0">
                  <a:pos x="csX1373" y="csY1373"/>
                </a:cxn>
                <a:cxn ang="0">
                  <a:pos x="csX1374" y="csY1374"/>
                </a:cxn>
                <a:cxn ang="0">
                  <a:pos x="csX1375" y="csY1375"/>
                </a:cxn>
                <a:cxn ang="0">
                  <a:pos x="csX1376" y="csY1376"/>
                </a:cxn>
                <a:cxn ang="0">
                  <a:pos x="csX1377" y="csY1377"/>
                </a:cxn>
                <a:cxn ang="0">
                  <a:pos x="csX1378" y="csY1378"/>
                </a:cxn>
                <a:cxn ang="0">
                  <a:pos x="csX1379" y="csY1379"/>
                </a:cxn>
                <a:cxn ang="0">
                  <a:pos x="csX1380" y="csY1380"/>
                </a:cxn>
                <a:cxn ang="0">
                  <a:pos x="csX1381" y="csY1381"/>
                </a:cxn>
                <a:cxn ang="0">
                  <a:pos x="csX1382" y="csY1382"/>
                </a:cxn>
                <a:cxn ang="0">
                  <a:pos x="csX1383" y="csY1383"/>
                </a:cxn>
                <a:cxn ang="0">
                  <a:pos x="csX1384" y="csY1384"/>
                </a:cxn>
                <a:cxn ang="0">
                  <a:pos x="csX1385" y="csY1385"/>
                </a:cxn>
                <a:cxn ang="0">
                  <a:pos x="csX1386" y="csY1386"/>
                </a:cxn>
                <a:cxn ang="0">
                  <a:pos x="csX1387" y="csY1387"/>
                </a:cxn>
                <a:cxn ang="0">
                  <a:pos x="csX1388" y="csY1388"/>
                </a:cxn>
                <a:cxn ang="0">
                  <a:pos x="csX1389" y="csY1389"/>
                </a:cxn>
                <a:cxn ang="0">
                  <a:pos x="csX1390" y="csY1390"/>
                </a:cxn>
                <a:cxn ang="0">
                  <a:pos x="csX1391" y="csY1391"/>
                </a:cxn>
                <a:cxn ang="0">
                  <a:pos x="csX1392" y="csY1392"/>
                </a:cxn>
                <a:cxn ang="0">
                  <a:pos x="csX1393" y="csY1393"/>
                </a:cxn>
                <a:cxn ang="0">
                  <a:pos x="csX1394" y="csY1394"/>
                </a:cxn>
                <a:cxn ang="0">
                  <a:pos x="csX1395" y="csY1395"/>
                </a:cxn>
                <a:cxn ang="0">
                  <a:pos x="csX1396" y="csY1396"/>
                </a:cxn>
                <a:cxn ang="0">
                  <a:pos x="csX1397" y="csY1397"/>
                </a:cxn>
                <a:cxn ang="0">
                  <a:pos x="csX1398" y="csY1398"/>
                </a:cxn>
                <a:cxn ang="0">
                  <a:pos x="csX1399" y="csY1399"/>
                </a:cxn>
                <a:cxn ang="0">
                  <a:pos x="csX1400" y="csY1400"/>
                </a:cxn>
                <a:cxn ang="0">
                  <a:pos x="csX1401" y="csY1401"/>
                </a:cxn>
                <a:cxn ang="0">
                  <a:pos x="csX1402" y="csY1402"/>
                </a:cxn>
                <a:cxn ang="0">
                  <a:pos x="csX1403" y="csY1403"/>
                </a:cxn>
                <a:cxn ang="0">
                  <a:pos x="csX1404" y="csY1404"/>
                </a:cxn>
                <a:cxn ang="0">
                  <a:pos x="csX1405" y="csY1405"/>
                </a:cxn>
                <a:cxn ang="0">
                  <a:pos x="csX1406" y="csY1406"/>
                </a:cxn>
                <a:cxn ang="0">
                  <a:pos x="csX1407" y="csY1407"/>
                </a:cxn>
                <a:cxn ang="0">
                  <a:pos x="csX1408" y="csY1408"/>
                </a:cxn>
                <a:cxn ang="0">
                  <a:pos x="csX1409" y="csY1409"/>
                </a:cxn>
                <a:cxn ang="0">
                  <a:pos x="csX1410" y="csY1410"/>
                </a:cxn>
                <a:cxn ang="0">
                  <a:pos x="csX1411" y="csY1411"/>
                </a:cxn>
                <a:cxn ang="0">
                  <a:pos x="csX1412" y="csY1412"/>
                </a:cxn>
                <a:cxn ang="0">
                  <a:pos x="csX1413" y="csY1413"/>
                </a:cxn>
                <a:cxn ang="0">
                  <a:pos x="csX1414" y="csY1414"/>
                </a:cxn>
                <a:cxn ang="0">
                  <a:pos x="csX1415" y="csY1415"/>
                </a:cxn>
                <a:cxn ang="0">
                  <a:pos x="csX1416" y="csY1416"/>
                </a:cxn>
                <a:cxn ang="0">
                  <a:pos x="csX1417" y="csY1417"/>
                </a:cxn>
                <a:cxn ang="0">
                  <a:pos x="csX1418" y="csY1418"/>
                </a:cxn>
                <a:cxn ang="0">
                  <a:pos x="csX1419" y="csY1419"/>
                </a:cxn>
                <a:cxn ang="0">
                  <a:pos x="csX1420" y="csY1420"/>
                </a:cxn>
                <a:cxn ang="0">
                  <a:pos x="csX1421" y="csY1421"/>
                </a:cxn>
                <a:cxn ang="0">
                  <a:pos x="csX1422" y="csY1422"/>
                </a:cxn>
                <a:cxn ang="0">
                  <a:pos x="csX1423" y="csY1423"/>
                </a:cxn>
                <a:cxn ang="0">
                  <a:pos x="csX1424" y="csY1424"/>
                </a:cxn>
                <a:cxn ang="0">
                  <a:pos x="csX1425" y="csY1425"/>
                </a:cxn>
                <a:cxn ang="0">
                  <a:pos x="csX1426" y="csY1426"/>
                </a:cxn>
                <a:cxn ang="0">
                  <a:pos x="csX1427" y="csY1427"/>
                </a:cxn>
                <a:cxn ang="0">
                  <a:pos x="csX1428" y="csY1428"/>
                </a:cxn>
                <a:cxn ang="0">
                  <a:pos x="csX1429" y="csY1429"/>
                </a:cxn>
                <a:cxn ang="0">
                  <a:pos x="csX1430" y="csY1430"/>
                </a:cxn>
                <a:cxn ang="0">
                  <a:pos x="csX1431" y="csY1431"/>
                </a:cxn>
                <a:cxn ang="0">
                  <a:pos x="csX1432" y="csY1432"/>
                </a:cxn>
                <a:cxn ang="0">
                  <a:pos x="csX1433" y="csY1433"/>
                </a:cxn>
                <a:cxn ang="0">
                  <a:pos x="csX1434" y="csY1434"/>
                </a:cxn>
                <a:cxn ang="0">
                  <a:pos x="csX1435" y="csY1435"/>
                </a:cxn>
                <a:cxn ang="0">
                  <a:pos x="csX1436" y="csY1436"/>
                </a:cxn>
                <a:cxn ang="0">
                  <a:pos x="csX1437" y="csY1437"/>
                </a:cxn>
                <a:cxn ang="0">
                  <a:pos x="csX1438" y="csY1438"/>
                </a:cxn>
                <a:cxn ang="0">
                  <a:pos x="csX1439" y="csY1439"/>
                </a:cxn>
                <a:cxn ang="0">
                  <a:pos x="csX1440" y="csY1440"/>
                </a:cxn>
                <a:cxn ang="0">
                  <a:pos x="csX1441" y="csY1441"/>
                </a:cxn>
                <a:cxn ang="0">
                  <a:pos x="csX1442" y="csY1442"/>
                </a:cxn>
                <a:cxn ang="0">
                  <a:pos x="csX1443" y="csY1443"/>
                </a:cxn>
                <a:cxn ang="0">
                  <a:pos x="csX1444" y="csY1444"/>
                </a:cxn>
                <a:cxn ang="0">
                  <a:pos x="csX1445" y="csY1445"/>
                </a:cxn>
                <a:cxn ang="0">
                  <a:pos x="csX1446" y="csY1446"/>
                </a:cxn>
                <a:cxn ang="0">
                  <a:pos x="csX1447" y="csY1447"/>
                </a:cxn>
                <a:cxn ang="0">
                  <a:pos x="csX1448" y="csY1448"/>
                </a:cxn>
                <a:cxn ang="0">
                  <a:pos x="csX1449" y="csY1449"/>
                </a:cxn>
                <a:cxn ang="0">
                  <a:pos x="csX1450" y="csY1450"/>
                </a:cxn>
                <a:cxn ang="0">
                  <a:pos x="csX1451" y="csY1451"/>
                </a:cxn>
                <a:cxn ang="0">
                  <a:pos x="csX1452" y="csY1452"/>
                </a:cxn>
                <a:cxn ang="0">
                  <a:pos x="csX1453" y="csY1453"/>
                </a:cxn>
                <a:cxn ang="0">
                  <a:pos x="csX1454" y="csY1454"/>
                </a:cxn>
                <a:cxn ang="0">
                  <a:pos x="csX1455" y="csY1455"/>
                </a:cxn>
                <a:cxn ang="0">
                  <a:pos x="csX1456" y="csY1456"/>
                </a:cxn>
                <a:cxn ang="0">
                  <a:pos x="csX1457" y="csY1457"/>
                </a:cxn>
                <a:cxn ang="0">
                  <a:pos x="csX1458" y="csY1458"/>
                </a:cxn>
                <a:cxn ang="0">
                  <a:pos x="csX1459" y="csY1459"/>
                </a:cxn>
                <a:cxn ang="0">
                  <a:pos x="csX1460" y="csY1460"/>
                </a:cxn>
                <a:cxn ang="0">
                  <a:pos x="csX1461" y="csY1461"/>
                </a:cxn>
                <a:cxn ang="0">
                  <a:pos x="csX1462" y="csY1462"/>
                </a:cxn>
                <a:cxn ang="0">
                  <a:pos x="csX1463" y="csY1463"/>
                </a:cxn>
                <a:cxn ang="0">
                  <a:pos x="csX1464" y="csY1464"/>
                </a:cxn>
                <a:cxn ang="0">
                  <a:pos x="csX1465" y="csY1465"/>
                </a:cxn>
                <a:cxn ang="0">
                  <a:pos x="csX1466" y="csY1466"/>
                </a:cxn>
                <a:cxn ang="0">
                  <a:pos x="csX1467" y="csY1467"/>
                </a:cxn>
                <a:cxn ang="0">
                  <a:pos x="csX1468" y="csY1468"/>
                </a:cxn>
                <a:cxn ang="0">
                  <a:pos x="csX1469" y="csY1469"/>
                </a:cxn>
                <a:cxn ang="0">
                  <a:pos x="csX1470" y="csY1470"/>
                </a:cxn>
                <a:cxn ang="0">
                  <a:pos x="csX1471" y="csY1471"/>
                </a:cxn>
                <a:cxn ang="0">
                  <a:pos x="csX1472" y="csY1472"/>
                </a:cxn>
                <a:cxn ang="0">
                  <a:pos x="csX1473" y="csY1473"/>
                </a:cxn>
                <a:cxn ang="0">
                  <a:pos x="csX1474" y="csY1474"/>
                </a:cxn>
                <a:cxn ang="0">
                  <a:pos x="csX1475" y="csY1475"/>
                </a:cxn>
                <a:cxn ang="0">
                  <a:pos x="csX1476" y="csY1476"/>
                </a:cxn>
                <a:cxn ang="0">
                  <a:pos x="csX1477" y="csY1477"/>
                </a:cxn>
                <a:cxn ang="0">
                  <a:pos x="csX1478" y="csY1478"/>
                </a:cxn>
                <a:cxn ang="0">
                  <a:pos x="csX1479" y="csY1479"/>
                </a:cxn>
                <a:cxn ang="0">
                  <a:pos x="csX1480" y="csY1480"/>
                </a:cxn>
                <a:cxn ang="0">
                  <a:pos x="csX1481" y="csY1481"/>
                </a:cxn>
                <a:cxn ang="0">
                  <a:pos x="csX1482" y="csY1482"/>
                </a:cxn>
                <a:cxn ang="0">
                  <a:pos x="csX1483" y="csY1483"/>
                </a:cxn>
                <a:cxn ang="0">
                  <a:pos x="csX1484" y="csY1484"/>
                </a:cxn>
                <a:cxn ang="0">
                  <a:pos x="csX1485" y="csY1485"/>
                </a:cxn>
                <a:cxn ang="0">
                  <a:pos x="csX1486" y="csY1486"/>
                </a:cxn>
                <a:cxn ang="0">
                  <a:pos x="csX1487" y="csY1487"/>
                </a:cxn>
                <a:cxn ang="0">
                  <a:pos x="csX1488" y="csY1488"/>
                </a:cxn>
                <a:cxn ang="0">
                  <a:pos x="csX1489" y="csY1489"/>
                </a:cxn>
                <a:cxn ang="0">
                  <a:pos x="csX1490" y="csY1490"/>
                </a:cxn>
                <a:cxn ang="0">
                  <a:pos x="csX1491" y="csY1491"/>
                </a:cxn>
                <a:cxn ang="0">
                  <a:pos x="csX1492" y="csY1492"/>
                </a:cxn>
                <a:cxn ang="0">
                  <a:pos x="csX1493" y="csY1493"/>
                </a:cxn>
                <a:cxn ang="0">
                  <a:pos x="csX1494" y="csY1494"/>
                </a:cxn>
                <a:cxn ang="0">
                  <a:pos x="csX1495" y="csY1495"/>
                </a:cxn>
                <a:cxn ang="0">
                  <a:pos x="csX1496" y="csY1496"/>
                </a:cxn>
                <a:cxn ang="0">
                  <a:pos x="csX1497" y="csY1497"/>
                </a:cxn>
                <a:cxn ang="0">
                  <a:pos x="csX1498" y="csY1498"/>
                </a:cxn>
                <a:cxn ang="0">
                  <a:pos x="csX1499" y="csY1499"/>
                </a:cxn>
                <a:cxn ang="0">
                  <a:pos x="csX1500" y="csY1500"/>
                </a:cxn>
                <a:cxn ang="0">
                  <a:pos x="csX1501" y="csY1501"/>
                </a:cxn>
                <a:cxn ang="0">
                  <a:pos x="csX1502" y="csY1502"/>
                </a:cxn>
                <a:cxn ang="0">
                  <a:pos x="csX1503" y="csY1503"/>
                </a:cxn>
                <a:cxn ang="0">
                  <a:pos x="csX1504" y="csY1504"/>
                </a:cxn>
                <a:cxn ang="0">
                  <a:pos x="csX1505" y="csY1505"/>
                </a:cxn>
                <a:cxn ang="0">
                  <a:pos x="csX1506" y="csY1506"/>
                </a:cxn>
                <a:cxn ang="0">
                  <a:pos x="csX1507" y="csY1507"/>
                </a:cxn>
                <a:cxn ang="0">
                  <a:pos x="csX1508" y="csY1508"/>
                </a:cxn>
                <a:cxn ang="0">
                  <a:pos x="csX1509" y="csY1509"/>
                </a:cxn>
                <a:cxn ang="0">
                  <a:pos x="csX1510" y="csY1510"/>
                </a:cxn>
                <a:cxn ang="0">
                  <a:pos x="csX1511" y="csY1511"/>
                </a:cxn>
                <a:cxn ang="0">
                  <a:pos x="csX1512" y="csY1512"/>
                </a:cxn>
                <a:cxn ang="0">
                  <a:pos x="csX1513" y="csY1513"/>
                </a:cxn>
                <a:cxn ang="0">
                  <a:pos x="csX1514" y="csY1514"/>
                </a:cxn>
                <a:cxn ang="0">
                  <a:pos x="csX1515" y="csY1515"/>
                </a:cxn>
                <a:cxn ang="0">
                  <a:pos x="csX1516" y="csY1516"/>
                </a:cxn>
                <a:cxn ang="0">
                  <a:pos x="csX1517" y="csY1517"/>
                </a:cxn>
                <a:cxn ang="0">
                  <a:pos x="csX1518" y="csY1518"/>
                </a:cxn>
                <a:cxn ang="0">
                  <a:pos x="csX1519" y="csY1519"/>
                </a:cxn>
                <a:cxn ang="0">
                  <a:pos x="csX1520" y="csY1520"/>
                </a:cxn>
                <a:cxn ang="0">
                  <a:pos x="csX1521" y="csY1521"/>
                </a:cxn>
                <a:cxn ang="0">
                  <a:pos x="csX1522" y="csY1522"/>
                </a:cxn>
                <a:cxn ang="0">
                  <a:pos x="csX1523" y="csY1523"/>
                </a:cxn>
                <a:cxn ang="0">
                  <a:pos x="csX1524" y="csY1524"/>
                </a:cxn>
                <a:cxn ang="0">
                  <a:pos x="csX1525" y="csY1525"/>
                </a:cxn>
                <a:cxn ang="0">
                  <a:pos x="csX1526" y="csY1526"/>
                </a:cxn>
                <a:cxn ang="0">
                  <a:pos x="csX1527" y="csY1527"/>
                </a:cxn>
                <a:cxn ang="0">
                  <a:pos x="csX1528" y="csY1528"/>
                </a:cxn>
                <a:cxn ang="0">
                  <a:pos x="csX1529" y="csY1529"/>
                </a:cxn>
                <a:cxn ang="0">
                  <a:pos x="csX1530" y="csY1530"/>
                </a:cxn>
                <a:cxn ang="0">
                  <a:pos x="csX1531" y="csY1531"/>
                </a:cxn>
                <a:cxn ang="0">
                  <a:pos x="csX1532" y="csY1532"/>
                </a:cxn>
                <a:cxn ang="0">
                  <a:pos x="csX1533" y="csY1533"/>
                </a:cxn>
                <a:cxn ang="0">
                  <a:pos x="csX1534" y="csY1534"/>
                </a:cxn>
                <a:cxn ang="0">
                  <a:pos x="csX1535" y="csY1535"/>
                </a:cxn>
                <a:cxn ang="0">
                  <a:pos x="csX1536" y="csY1536"/>
                </a:cxn>
                <a:cxn ang="0">
                  <a:pos x="csX1537" y="csY1537"/>
                </a:cxn>
                <a:cxn ang="0">
                  <a:pos x="csX1538" y="csY1538"/>
                </a:cxn>
                <a:cxn ang="0">
                  <a:pos x="csX1539" y="csY1539"/>
                </a:cxn>
                <a:cxn ang="0">
                  <a:pos x="csX1540" y="csY1540"/>
                </a:cxn>
                <a:cxn ang="0">
                  <a:pos x="csX1541" y="csY1541"/>
                </a:cxn>
                <a:cxn ang="0">
                  <a:pos x="csX1542" y="csY1542"/>
                </a:cxn>
                <a:cxn ang="0">
                  <a:pos x="csX1543" y="csY1543"/>
                </a:cxn>
                <a:cxn ang="0">
                  <a:pos x="csX1544" y="csY1544"/>
                </a:cxn>
                <a:cxn ang="0">
                  <a:pos x="csX1545" y="csY1545"/>
                </a:cxn>
                <a:cxn ang="0">
                  <a:pos x="csX1546" y="csY1546"/>
                </a:cxn>
                <a:cxn ang="0">
                  <a:pos x="csX1547" y="csY1547"/>
                </a:cxn>
                <a:cxn ang="0">
                  <a:pos x="csX1548" y="csY1548"/>
                </a:cxn>
                <a:cxn ang="0">
                  <a:pos x="csX1549" y="csY1549"/>
                </a:cxn>
                <a:cxn ang="0">
                  <a:pos x="csX1550" y="csY1550"/>
                </a:cxn>
                <a:cxn ang="0">
                  <a:pos x="csX1551" y="csY1551"/>
                </a:cxn>
                <a:cxn ang="0">
                  <a:pos x="csX1552" y="csY1552"/>
                </a:cxn>
                <a:cxn ang="0">
                  <a:pos x="csX1553" y="csY1553"/>
                </a:cxn>
                <a:cxn ang="0">
                  <a:pos x="csX1554" y="csY1554"/>
                </a:cxn>
                <a:cxn ang="0">
                  <a:pos x="csX1555" y="csY1555"/>
                </a:cxn>
                <a:cxn ang="0">
                  <a:pos x="csX1556" y="csY1556"/>
                </a:cxn>
                <a:cxn ang="0">
                  <a:pos x="csX1557" y="csY1557"/>
                </a:cxn>
                <a:cxn ang="0">
                  <a:pos x="csX1558" y="csY1558"/>
                </a:cxn>
                <a:cxn ang="0">
                  <a:pos x="csX1559" y="csY1559"/>
                </a:cxn>
                <a:cxn ang="0">
                  <a:pos x="csX1560" y="csY1560"/>
                </a:cxn>
                <a:cxn ang="0">
                  <a:pos x="csX1561" y="csY1561"/>
                </a:cxn>
                <a:cxn ang="0">
                  <a:pos x="csX1562" y="csY1562"/>
                </a:cxn>
                <a:cxn ang="0">
                  <a:pos x="csX1563" y="csY1563"/>
                </a:cxn>
                <a:cxn ang="0">
                  <a:pos x="csX1564" y="csY1564"/>
                </a:cxn>
                <a:cxn ang="0">
                  <a:pos x="csX1565" y="csY1565"/>
                </a:cxn>
                <a:cxn ang="0">
                  <a:pos x="csX1566" y="csY1566"/>
                </a:cxn>
                <a:cxn ang="0">
                  <a:pos x="csX1567" y="csY1567"/>
                </a:cxn>
                <a:cxn ang="0">
                  <a:pos x="csX1568" y="csY1568"/>
                </a:cxn>
                <a:cxn ang="0">
                  <a:pos x="csX1569" y="csY1569"/>
                </a:cxn>
                <a:cxn ang="0">
                  <a:pos x="csX1570" y="csY1570"/>
                </a:cxn>
                <a:cxn ang="0">
                  <a:pos x="csX1571" y="csY1571"/>
                </a:cxn>
                <a:cxn ang="0">
                  <a:pos x="csX1572" y="csY1572"/>
                </a:cxn>
                <a:cxn ang="0">
                  <a:pos x="csX1573" y="csY1573"/>
                </a:cxn>
                <a:cxn ang="0">
                  <a:pos x="csX1574" y="csY1574"/>
                </a:cxn>
                <a:cxn ang="0">
                  <a:pos x="csX1575" y="csY1575"/>
                </a:cxn>
                <a:cxn ang="0">
                  <a:pos x="csX1576" y="csY1576"/>
                </a:cxn>
                <a:cxn ang="0">
                  <a:pos x="csX1577" y="csY1577"/>
                </a:cxn>
                <a:cxn ang="0">
                  <a:pos x="csX1578" y="csY1578"/>
                </a:cxn>
                <a:cxn ang="0">
                  <a:pos x="csX1579" y="csY1579"/>
                </a:cxn>
                <a:cxn ang="0">
                  <a:pos x="csX1580" y="csY1580"/>
                </a:cxn>
                <a:cxn ang="0">
                  <a:pos x="csX1581" y="csY1581"/>
                </a:cxn>
                <a:cxn ang="0">
                  <a:pos x="csX1582" y="csY1582"/>
                </a:cxn>
                <a:cxn ang="0">
                  <a:pos x="csX1583" y="csY1583"/>
                </a:cxn>
                <a:cxn ang="0">
                  <a:pos x="csX1584" y="csY1584"/>
                </a:cxn>
                <a:cxn ang="0">
                  <a:pos x="csX1585" y="csY1585"/>
                </a:cxn>
                <a:cxn ang="0">
                  <a:pos x="csX1586" y="csY1586"/>
                </a:cxn>
                <a:cxn ang="0">
                  <a:pos x="csX1587" y="csY1587"/>
                </a:cxn>
                <a:cxn ang="0">
                  <a:pos x="csX1588" y="csY1588"/>
                </a:cxn>
                <a:cxn ang="0">
                  <a:pos x="csX1589" y="csY1589"/>
                </a:cxn>
                <a:cxn ang="0">
                  <a:pos x="csX1590" y="csY1590"/>
                </a:cxn>
                <a:cxn ang="0">
                  <a:pos x="csX1591" y="csY1591"/>
                </a:cxn>
                <a:cxn ang="0">
                  <a:pos x="csX1592" y="csY1592"/>
                </a:cxn>
                <a:cxn ang="0">
                  <a:pos x="csX1593" y="csY1593"/>
                </a:cxn>
                <a:cxn ang="0">
                  <a:pos x="csX1594" y="csY1594"/>
                </a:cxn>
                <a:cxn ang="0">
                  <a:pos x="csX1595" y="csY1595"/>
                </a:cxn>
                <a:cxn ang="0">
                  <a:pos x="csX1596" y="csY1596"/>
                </a:cxn>
                <a:cxn ang="0">
                  <a:pos x="csX1597" y="csY1597"/>
                </a:cxn>
                <a:cxn ang="0">
                  <a:pos x="csX1598" y="csY1598"/>
                </a:cxn>
                <a:cxn ang="0">
                  <a:pos x="csX1599" y="csY1599"/>
                </a:cxn>
                <a:cxn ang="0">
                  <a:pos x="csX1600" y="csY1600"/>
                </a:cxn>
                <a:cxn ang="0">
                  <a:pos x="csX1601" y="csY1601"/>
                </a:cxn>
                <a:cxn ang="0">
                  <a:pos x="csX1602" y="csY1602"/>
                </a:cxn>
                <a:cxn ang="0">
                  <a:pos x="csX1603" y="csY1603"/>
                </a:cxn>
                <a:cxn ang="0">
                  <a:pos x="csX1604" y="csY1604"/>
                </a:cxn>
                <a:cxn ang="0">
                  <a:pos x="csX1605" y="csY1605"/>
                </a:cxn>
                <a:cxn ang="0">
                  <a:pos x="csX1606" y="csY1606"/>
                </a:cxn>
                <a:cxn ang="0">
                  <a:pos x="csX1607" y="csY1607"/>
                </a:cxn>
                <a:cxn ang="0">
                  <a:pos x="csX1608" y="csY1608"/>
                </a:cxn>
                <a:cxn ang="0">
                  <a:pos x="csX1609" y="csY1609"/>
                </a:cxn>
                <a:cxn ang="0">
                  <a:pos x="csX1610" y="csY1610"/>
                </a:cxn>
                <a:cxn ang="0">
                  <a:pos x="csX1611" y="csY1611"/>
                </a:cxn>
                <a:cxn ang="0">
                  <a:pos x="csX1612" y="csY1612"/>
                </a:cxn>
                <a:cxn ang="0">
                  <a:pos x="csX1613" y="csY1613"/>
                </a:cxn>
                <a:cxn ang="0">
                  <a:pos x="csX1614" y="csY1614"/>
                </a:cxn>
                <a:cxn ang="0">
                  <a:pos x="csX1615" y="csY1615"/>
                </a:cxn>
                <a:cxn ang="0">
                  <a:pos x="csX1616" y="csY1616"/>
                </a:cxn>
                <a:cxn ang="0">
                  <a:pos x="csX1617" y="csY1617"/>
                </a:cxn>
                <a:cxn ang="0">
                  <a:pos x="csX1618" y="csY1618"/>
                </a:cxn>
                <a:cxn ang="0">
                  <a:pos x="csX1619" y="csY1619"/>
                </a:cxn>
                <a:cxn ang="0">
                  <a:pos x="csX1620" y="csY1620"/>
                </a:cxn>
                <a:cxn ang="0">
                  <a:pos x="csX1621" y="csY1621"/>
                </a:cxn>
                <a:cxn ang="0">
                  <a:pos x="csX1622" y="csY1622"/>
                </a:cxn>
                <a:cxn ang="0">
                  <a:pos x="csX1623" y="csY1623"/>
                </a:cxn>
                <a:cxn ang="0">
                  <a:pos x="csX1624" y="csY1624"/>
                </a:cxn>
                <a:cxn ang="0">
                  <a:pos x="csX1625" y="csY1625"/>
                </a:cxn>
                <a:cxn ang="0">
                  <a:pos x="csX1626" y="csY1626"/>
                </a:cxn>
                <a:cxn ang="0">
                  <a:pos x="csX1627" y="csY1627"/>
                </a:cxn>
                <a:cxn ang="0">
                  <a:pos x="csX1628" y="csY1628"/>
                </a:cxn>
                <a:cxn ang="0">
                  <a:pos x="csX1629" y="csY1629"/>
                </a:cxn>
                <a:cxn ang="0">
                  <a:pos x="csX1630" y="csY1630"/>
                </a:cxn>
                <a:cxn ang="0">
                  <a:pos x="csX1631" y="csY1631"/>
                </a:cxn>
                <a:cxn ang="0">
                  <a:pos x="csX1632" y="csY1632"/>
                </a:cxn>
                <a:cxn ang="0">
                  <a:pos x="csX1633" y="csY1633"/>
                </a:cxn>
                <a:cxn ang="0">
                  <a:pos x="csX1634" y="csY1634"/>
                </a:cxn>
                <a:cxn ang="0">
                  <a:pos x="csX1635" y="csY1635"/>
                </a:cxn>
                <a:cxn ang="0">
                  <a:pos x="csX1636" y="csY1636"/>
                </a:cxn>
                <a:cxn ang="0">
                  <a:pos x="csX1637" y="csY1637"/>
                </a:cxn>
                <a:cxn ang="0">
                  <a:pos x="csX1638" y="csY1638"/>
                </a:cxn>
                <a:cxn ang="0">
                  <a:pos x="csX1639" y="csY1639"/>
                </a:cxn>
                <a:cxn ang="0">
                  <a:pos x="csX1640" y="csY1640"/>
                </a:cxn>
                <a:cxn ang="0">
                  <a:pos x="csX1641" y="csY1641"/>
                </a:cxn>
                <a:cxn ang="0">
                  <a:pos x="csX1642" y="csY1642"/>
                </a:cxn>
                <a:cxn ang="0">
                  <a:pos x="csX1643" y="csY1643"/>
                </a:cxn>
                <a:cxn ang="0">
                  <a:pos x="csX1644" y="csY1644"/>
                </a:cxn>
                <a:cxn ang="0">
                  <a:pos x="csX1645" y="csY1645"/>
                </a:cxn>
                <a:cxn ang="0">
                  <a:pos x="csX1646" y="csY1646"/>
                </a:cxn>
                <a:cxn ang="0">
                  <a:pos x="csX1647" y="csY1647"/>
                </a:cxn>
                <a:cxn ang="0">
                  <a:pos x="csX1648" y="csY1648"/>
                </a:cxn>
                <a:cxn ang="0">
                  <a:pos x="csX1649" y="csY1649"/>
                </a:cxn>
                <a:cxn ang="0">
                  <a:pos x="csX1650" y="csY1650"/>
                </a:cxn>
                <a:cxn ang="0">
                  <a:pos x="csX1651" y="csY1651"/>
                </a:cxn>
                <a:cxn ang="0">
                  <a:pos x="csX1652" y="csY1652"/>
                </a:cxn>
                <a:cxn ang="0">
                  <a:pos x="csX1653" y="csY1653"/>
                </a:cxn>
                <a:cxn ang="0">
                  <a:pos x="csX1654" y="csY1654"/>
                </a:cxn>
                <a:cxn ang="0">
                  <a:pos x="csX1655" y="csY1655"/>
                </a:cxn>
                <a:cxn ang="0">
                  <a:pos x="csX1656" y="csY1656"/>
                </a:cxn>
                <a:cxn ang="0">
                  <a:pos x="csX1657" y="csY1657"/>
                </a:cxn>
                <a:cxn ang="0">
                  <a:pos x="csX1658" y="csY1658"/>
                </a:cxn>
                <a:cxn ang="0">
                  <a:pos x="csX1659" y="csY1659"/>
                </a:cxn>
                <a:cxn ang="0">
                  <a:pos x="csX1660" y="csY1660"/>
                </a:cxn>
                <a:cxn ang="0">
                  <a:pos x="csX1661" y="csY1661"/>
                </a:cxn>
                <a:cxn ang="0">
                  <a:pos x="csX1662" y="csY1662"/>
                </a:cxn>
                <a:cxn ang="0">
                  <a:pos x="csX1663" y="csY1663"/>
                </a:cxn>
                <a:cxn ang="0">
                  <a:pos x="csX1664" y="csY1664"/>
                </a:cxn>
                <a:cxn ang="0">
                  <a:pos x="csX1665" y="csY1665"/>
                </a:cxn>
                <a:cxn ang="0">
                  <a:pos x="csX1666" y="csY1666"/>
                </a:cxn>
                <a:cxn ang="0">
                  <a:pos x="csX1667" y="csY1667"/>
                </a:cxn>
                <a:cxn ang="0">
                  <a:pos x="csX1668" y="csY1668"/>
                </a:cxn>
                <a:cxn ang="0">
                  <a:pos x="csX1669" y="csY1669"/>
                </a:cxn>
                <a:cxn ang="0">
                  <a:pos x="csX1670" y="csY1670"/>
                </a:cxn>
                <a:cxn ang="0">
                  <a:pos x="csX1671" y="csY1671"/>
                </a:cxn>
                <a:cxn ang="0">
                  <a:pos x="csX1672" y="csY1672"/>
                </a:cxn>
                <a:cxn ang="0">
                  <a:pos x="csX1673" y="csY1673"/>
                </a:cxn>
                <a:cxn ang="0">
                  <a:pos x="csX1674" y="csY1674"/>
                </a:cxn>
                <a:cxn ang="0">
                  <a:pos x="csX1675" y="csY1675"/>
                </a:cxn>
                <a:cxn ang="0">
                  <a:pos x="csX1676" y="csY1676"/>
                </a:cxn>
                <a:cxn ang="0">
                  <a:pos x="csX1677" y="csY1677"/>
                </a:cxn>
                <a:cxn ang="0">
                  <a:pos x="csX1678" y="csY1678"/>
                </a:cxn>
                <a:cxn ang="0">
                  <a:pos x="csX1679" y="csY1679"/>
                </a:cxn>
                <a:cxn ang="0">
                  <a:pos x="csX1680" y="csY1680"/>
                </a:cxn>
                <a:cxn ang="0">
                  <a:pos x="csX1681" y="csY1681"/>
                </a:cxn>
                <a:cxn ang="0">
                  <a:pos x="csX1682" y="csY1682"/>
                </a:cxn>
                <a:cxn ang="0">
                  <a:pos x="csX1683" y="csY1683"/>
                </a:cxn>
                <a:cxn ang="0">
                  <a:pos x="csX1684" y="csY1684"/>
                </a:cxn>
                <a:cxn ang="0">
                  <a:pos x="csX1685" y="csY1685"/>
                </a:cxn>
                <a:cxn ang="0">
                  <a:pos x="csX1686" y="csY1686"/>
                </a:cxn>
                <a:cxn ang="0">
                  <a:pos x="csX1687" y="csY1687"/>
                </a:cxn>
                <a:cxn ang="0">
                  <a:pos x="csX1688" y="csY1688"/>
                </a:cxn>
                <a:cxn ang="0">
                  <a:pos x="csX1689" y="csY1689"/>
                </a:cxn>
                <a:cxn ang="0">
                  <a:pos x="csX1690" y="csY1690"/>
                </a:cxn>
                <a:cxn ang="0">
                  <a:pos x="csX1691" y="csY1691"/>
                </a:cxn>
                <a:cxn ang="0">
                  <a:pos x="csX1692" y="csY1692"/>
                </a:cxn>
                <a:cxn ang="0">
                  <a:pos x="csX1693" y="csY1693"/>
                </a:cxn>
                <a:cxn ang="0">
                  <a:pos x="csX1694" y="csY1694"/>
                </a:cxn>
                <a:cxn ang="0">
                  <a:pos x="csX1695" y="csY1695"/>
                </a:cxn>
                <a:cxn ang="0">
                  <a:pos x="csX1696" y="csY1696"/>
                </a:cxn>
                <a:cxn ang="0">
                  <a:pos x="csX1697" y="csY1697"/>
                </a:cxn>
                <a:cxn ang="0">
                  <a:pos x="csX1698" y="csY1698"/>
                </a:cxn>
                <a:cxn ang="0">
                  <a:pos x="csX1699" y="csY1699"/>
                </a:cxn>
                <a:cxn ang="0">
                  <a:pos x="csX1700" y="csY1700"/>
                </a:cxn>
                <a:cxn ang="0">
                  <a:pos x="csX1701" y="csY1701"/>
                </a:cxn>
                <a:cxn ang="0">
                  <a:pos x="csX1702" y="csY1702"/>
                </a:cxn>
                <a:cxn ang="0">
                  <a:pos x="csX1703" y="csY1703"/>
                </a:cxn>
                <a:cxn ang="0">
                  <a:pos x="csX1704" y="csY1704"/>
                </a:cxn>
                <a:cxn ang="0">
                  <a:pos x="csX1705" y="csY1705"/>
                </a:cxn>
                <a:cxn ang="0">
                  <a:pos x="csX1706" y="csY1706"/>
                </a:cxn>
                <a:cxn ang="0">
                  <a:pos x="csX1707" y="csY1707"/>
                </a:cxn>
                <a:cxn ang="0">
                  <a:pos x="csX1708" y="csY1708"/>
                </a:cxn>
                <a:cxn ang="0">
                  <a:pos x="csX1709" y="csY1709"/>
                </a:cxn>
                <a:cxn ang="0">
                  <a:pos x="csX1710" y="csY1710"/>
                </a:cxn>
                <a:cxn ang="0">
                  <a:pos x="csX1711" y="csY1711"/>
                </a:cxn>
                <a:cxn ang="0">
                  <a:pos x="csX1712" y="csY1712"/>
                </a:cxn>
                <a:cxn ang="0">
                  <a:pos x="csX1713" y="csY1713"/>
                </a:cxn>
                <a:cxn ang="0">
                  <a:pos x="csX1714" y="csY1714"/>
                </a:cxn>
                <a:cxn ang="0">
                  <a:pos x="csX1715" y="csY1715"/>
                </a:cxn>
                <a:cxn ang="0">
                  <a:pos x="csX1716" y="csY1716"/>
                </a:cxn>
                <a:cxn ang="0">
                  <a:pos x="csX1717" y="csY1717"/>
                </a:cxn>
                <a:cxn ang="0">
                  <a:pos x="csX1718" y="csY1718"/>
                </a:cxn>
                <a:cxn ang="0">
                  <a:pos x="csX1719" y="csY1719"/>
                </a:cxn>
                <a:cxn ang="0">
                  <a:pos x="csX1720" y="csY1720"/>
                </a:cxn>
                <a:cxn ang="0">
                  <a:pos x="csX1721" y="csY1721"/>
                </a:cxn>
                <a:cxn ang="0">
                  <a:pos x="csX1722" y="csY1722"/>
                </a:cxn>
                <a:cxn ang="0">
                  <a:pos x="csX1723" y="csY1723"/>
                </a:cxn>
                <a:cxn ang="0">
                  <a:pos x="csX1724" y="csY1724"/>
                </a:cxn>
                <a:cxn ang="0">
                  <a:pos x="csX1725" y="csY1725"/>
                </a:cxn>
                <a:cxn ang="0">
                  <a:pos x="csX1726" y="csY1726"/>
                </a:cxn>
                <a:cxn ang="0">
                  <a:pos x="csX1727" y="csY1727"/>
                </a:cxn>
                <a:cxn ang="0">
                  <a:pos x="csX1728" y="csY1728"/>
                </a:cxn>
                <a:cxn ang="0">
                  <a:pos x="csX1729" y="csY1729"/>
                </a:cxn>
                <a:cxn ang="0">
                  <a:pos x="csX1730" y="csY1730"/>
                </a:cxn>
                <a:cxn ang="0">
                  <a:pos x="csX1731" y="csY1731"/>
                </a:cxn>
                <a:cxn ang="0">
                  <a:pos x="csX1732" y="csY1732"/>
                </a:cxn>
                <a:cxn ang="0">
                  <a:pos x="csX1733" y="csY1733"/>
                </a:cxn>
                <a:cxn ang="0">
                  <a:pos x="csX1734" y="csY1734"/>
                </a:cxn>
                <a:cxn ang="0">
                  <a:pos x="csX1735" y="csY1735"/>
                </a:cxn>
                <a:cxn ang="0">
                  <a:pos x="csX1736" y="csY1736"/>
                </a:cxn>
                <a:cxn ang="0">
                  <a:pos x="csX1737" y="csY1737"/>
                </a:cxn>
                <a:cxn ang="0">
                  <a:pos x="csX1738" y="csY1738"/>
                </a:cxn>
                <a:cxn ang="0">
                  <a:pos x="csX1739" y="csY1739"/>
                </a:cxn>
                <a:cxn ang="0">
                  <a:pos x="csX1740" y="csY1740"/>
                </a:cxn>
                <a:cxn ang="0">
                  <a:pos x="csX1741" y="csY1741"/>
                </a:cxn>
                <a:cxn ang="0">
                  <a:pos x="csX1742" y="csY1742"/>
                </a:cxn>
                <a:cxn ang="0">
                  <a:pos x="csX1743" y="csY1743"/>
                </a:cxn>
                <a:cxn ang="0">
                  <a:pos x="csX1744" y="csY1744"/>
                </a:cxn>
                <a:cxn ang="0">
                  <a:pos x="csX1745" y="csY1745"/>
                </a:cxn>
                <a:cxn ang="0">
                  <a:pos x="csX1746" y="csY1746"/>
                </a:cxn>
                <a:cxn ang="0">
                  <a:pos x="csX1747" y="csY1747"/>
                </a:cxn>
                <a:cxn ang="0">
                  <a:pos x="csX1748" y="csY1748"/>
                </a:cxn>
                <a:cxn ang="0">
                  <a:pos x="csX1749" y="csY1749"/>
                </a:cxn>
                <a:cxn ang="0">
                  <a:pos x="csX1750" y="csY1750"/>
                </a:cxn>
                <a:cxn ang="0">
                  <a:pos x="csX1751" y="csY1751"/>
                </a:cxn>
                <a:cxn ang="0">
                  <a:pos x="csX1752" y="csY1752"/>
                </a:cxn>
                <a:cxn ang="0">
                  <a:pos x="csX1753" y="csY1753"/>
                </a:cxn>
                <a:cxn ang="0">
                  <a:pos x="csX1754" y="csY1754"/>
                </a:cxn>
                <a:cxn ang="0">
                  <a:pos x="csX1755" y="csY1755"/>
                </a:cxn>
                <a:cxn ang="0">
                  <a:pos x="csX1756" y="csY1756"/>
                </a:cxn>
                <a:cxn ang="0">
                  <a:pos x="csX1757" y="csY1757"/>
                </a:cxn>
                <a:cxn ang="0">
                  <a:pos x="csX1758" y="csY1758"/>
                </a:cxn>
                <a:cxn ang="0">
                  <a:pos x="csX1759" y="csY1759"/>
                </a:cxn>
                <a:cxn ang="0">
                  <a:pos x="csX1760" y="csY1760"/>
                </a:cxn>
                <a:cxn ang="0">
                  <a:pos x="csX1761" y="csY1761"/>
                </a:cxn>
                <a:cxn ang="0">
                  <a:pos x="csX1762" y="csY1762"/>
                </a:cxn>
                <a:cxn ang="0">
                  <a:pos x="csX1763" y="csY1763"/>
                </a:cxn>
                <a:cxn ang="0">
                  <a:pos x="csX1764" y="csY1764"/>
                </a:cxn>
                <a:cxn ang="0">
                  <a:pos x="csX1765" y="csY1765"/>
                </a:cxn>
                <a:cxn ang="0">
                  <a:pos x="csX1766" y="csY1766"/>
                </a:cxn>
                <a:cxn ang="0">
                  <a:pos x="csX1767" y="csY1767"/>
                </a:cxn>
                <a:cxn ang="0">
                  <a:pos x="csX1768" y="csY1768"/>
                </a:cxn>
                <a:cxn ang="0">
                  <a:pos x="csX1769" y="csY1769"/>
                </a:cxn>
                <a:cxn ang="0">
                  <a:pos x="csX1770" y="csY1770"/>
                </a:cxn>
                <a:cxn ang="0">
                  <a:pos x="csX1771" y="csY1771"/>
                </a:cxn>
                <a:cxn ang="0">
                  <a:pos x="csX1772" y="csY1772"/>
                </a:cxn>
                <a:cxn ang="0">
                  <a:pos x="csX1773" y="csY1773"/>
                </a:cxn>
                <a:cxn ang="0">
                  <a:pos x="csX1774" y="csY1774"/>
                </a:cxn>
                <a:cxn ang="0">
                  <a:pos x="csX1775" y="csY1775"/>
                </a:cxn>
                <a:cxn ang="0">
                  <a:pos x="csX1776" y="csY1776"/>
                </a:cxn>
                <a:cxn ang="0">
                  <a:pos x="csX1777" y="csY1777"/>
                </a:cxn>
                <a:cxn ang="0">
                  <a:pos x="csX1778" y="csY1778"/>
                </a:cxn>
                <a:cxn ang="0">
                  <a:pos x="csX1779" y="csY1779"/>
                </a:cxn>
                <a:cxn ang="0">
                  <a:pos x="csX1780" y="csY1780"/>
                </a:cxn>
                <a:cxn ang="0">
                  <a:pos x="csX1781" y="csY1781"/>
                </a:cxn>
                <a:cxn ang="0">
                  <a:pos x="csX1782" y="csY1782"/>
                </a:cxn>
                <a:cxn ang="0">
                  <a:pos x="csX1783" y="csY1783"/>
                </a:cxn>
                <a:cxn ang="0">
                  <a:pos x="csX1784" y="csY1784"/>
                </a:cxn>
                <a:cxn ang="0">
                  <a:pos x="csX1785" y="csY1785"/>
                </a:cxn>
                <a:cxn ang="0">
                  <a:pos x="csX1786" y="csY1786"/>
                </a:cxn>
                <a:cxn ang="0">
                  <a:pos x="csX1787" y="csY1787"/>
                </a:cxn>
                <a:cxn ang="0">
                  <a:pos x="csX1788" y="csY1788"/>
                </a:cxn>
                <a:cxn ang="0">
                  <a:pos x="csX1789" y="csY1789"/>
                </a:cxn>
                <a:cxn ang="0">
                  <a:pos x="csX1790" y="csY1790"/>
                </a:cxn>
                <a:cxn ang="0">
                  <a:pos x="csX1791" y="csY1791"/>
                </a:cxn>
                <a:cxn ang="0">
                  <a:pos x="csX1792" y="csY1792"/>
                </a:cxn>
                <a:cxn ang="0">
                  <a:pos x="csX1793" y="csY1793"/>
                </a:cxn>
                <a:cxn ang="0">
                  <a:pos x="csX1794" y="csY1794"/>
                </a:cxn>
                <a:cxn ang="0">
                  <a:pos x="csX1795" y="csY1795"/>
                </a:cxn>
                <a:cxn ang="0">
                  <a:pos x="csX1796" y="csY1796"/>
                </a:cxn>
                <a:cxn ang="0">
                  <a:pos x="csX1797" y="csY1797"/>
                </a:cxn>
                <a:cxn ang="0">
                  <a:pos x="csX1798" y="csY1798"/>
                </a:cxn>
                <a:cxn ang="0">
                  <a:pos x="csX1799" y="csY1799"/>
                </a:cxn>
                <a:cxn ang="0">
                  <a:pos x="csX1800" y="csY1800"/>
                </a:cxn>
                <a:cxn ang="0">
                  <a:pos x="csX1801" y="csY1801"/>
                </a:cxn>
                <a:cxn ang="0">
                  <a:pos x="csX1802" y="csY1802"/>
                </a:cxn>
                <a:cxn ang="0">
                  <a:pos x="csX1803" y="csY1803"/>
                </a:cxn>
                <a:cxn ang="0">
                  <a:pos x="csX1804" y="csY1804"/>
                </a:cxn>
                <a:cxn ang="0">
                  <a:pos x="csX1805" y="csY1805"/>
                </a:cxn>
                <a:cxn ang="0">
                  <a:pos x="csX1806" y="csY1806"/>
                </a:cxn>
                <a:cxn ang="0">
                  <a:pos x="csX1807" y="csY1807"/>
                </a:cxn>
                <a:cxn ang="0">
                  <a:pos x="csX1808" y="csY1808"/>
                </a:cxn>
                <a:cxn ang="0">
                  <a:pos x="csX1809" y="csY1809"/>
                </a:cxn>
                <a:cxn ang="0">
                  <a:pos x="csX1810" y="csY1810"/>
                </a:cxn>
                <a:cxn ang="0">
                  <a:pos x="csX1811" y="csY1811"/>
                </a:cxn>
                <a:cxn ang="0">
                  <a:pos x="csX1812" y="csY1812"/>
                </a:cxn>
                <a:cxn ang="0">
                  <a:pos x="csX1813" y="csY1813"/>
                </a:cxn>
                <a:cxn ang="0">
                  <a:pos x="csX1814" y="csY1814"/>
                </a:cxn>
                <a:cxn ang="0">
                  <a:pos x="csX1815" y="csY1815"/>
                </a:cxn>
                <a:cxn ang="0">
                  <a:pos x="csX1816" y="csY1816"/>
                </a:cxn>
                <a:cxn ang="0">
                  <a:pos x="csX1817" y="csY1817"/>
                </a:cxn>
                <a:cxn ang="0">
                  <a:pos x="csX1818" y="csY1818"/>
                </a:cxn>
                <a:cxn ang="0">
                  <a:pos x="csX1819" y="csY1819"/>
                </a:cxn>
                <a:cxn ang="0">
                  <a:pos x="csX1820" y="csY1820"/>
                </a:cxn>
                <a:cxn ang="0">
                  <a:pos x="csX1821" y="csY1821"/>
                </a:cxn>
                <a:cxn ang="0">
                  <a:pos x="csX1822" y="csY1822"/>
                </a:cxn>
                <a:cxn ang="0">
                  <a:pos x="csX1823" y="csY1823"/>
                </a:cxn>
                <a:cxn ang="0">
                  <a:pos x="csX1824" y="csY1824"/>
                </a:cxn>
                <a:cxn ang="0">
                  <a:pos x="csX1825" y="csY1825"/>
                </a:cxn>
                <a:cxn ang="0">
                  <a:pos x="csX1826" y="csY1826"/>
                </a:cxn>
                <a:cxn ang="0">
                  <a:pos x="csX1827" y="csY1827"/>
                </a:cxn>
                <a:cxn ang="0">
                  <a:pos x="csX1828" y="csY1828"/>
                </a:cxn>
                <a:cxn ang="0">
                  <a:pos x="csX1829" y="csY1829"/>
                </a:cxn>
                <a:cxn ang="0">
                  <a:pos x="csX1830" y="csY1830"/>
                </a:cxn>
                <a:cxn ang="0">
                  <a:pos x="csX1831" y="csY1831"/>
                </a:cxn>
                <a:cxn ang="0">
                  <a:pos x="csX1832" y="csY1832"/>
                </a:cxn>
                <a:cxn ang="0">
                  <a:pos x="csX1833" y="csY1833"/>
                </a:cxn>
                <a:cxn ang="0">
                  <a:pos x="csX1834" y="csY1834"/>
                </a:cxn>
                <a:cxn ang="0">
                  <a:pos x="csX1835" y="csY1835"/>
                </a:cxn>
                <a:cxn ang="0">
                  <a:pos x="csX1836" y="csY1836"/>
                </a:cxn>
                <a:cxn ang="0">
                  <a:pos x="csX1837" y="csY1837"/>
                </a:cxn>
                <a:cxn ang="0">
                  <a:pos x="csX1838" y="csY1838"/>
                </a:cxn>
                <a:cxn ang="0">
                  <a:pos x="csX1839" y="csY1839"/>
                </a:cxn>
                <a:cxn ang="0">
                  <a:pos x="csX1840" y="csY1840"/>
                </a:cxn>
                <a:cxn ang="0">
                  <a:pos x="csX1841" y="csY1841"/>
                </a:cxn>
                <a:cxn ang="0">
                  <a:pos x="csX1842" y="csY1842"/>
                </a:cxn>
                <a:cxn ang="0">
                  <a:pos x="csX1843" y="csY1843"/>
                </a:cxn>
                <a:cxn ang="0">
                  <a:pos x="csX1844" y="csY1844"/>
                </a:cxn>
                <a:cxn ang="0">
                  <a:pos x="csX1845" y="csY1845"/>
                </a:cxn>
                <a:cxn ang="0">
                  <a:pos x="csX1846" y="csY1846"/>
                </a:cxn>
                <a:cxn ang="0">
                  <a:pos x="csX1847" y="csY1847"/>
                </a:cxn>
                <a:cxn ang="0">
                  <a:pos x="csX1848" y="csY1848"/>
                </a:cxn>
                <a:cxn ang="0">
                  <a:pos x="csX1849" y="csY1849"/>
                </a:cxn>
                <a:cxn ang="0">
                  <a:pos x="csX1850" y="csY1850"/>
                </a:cxn>
                <a:cxn ang="0">
                  <a:pos x="csX1851" y="csY1851"/>
                </a:cxn>
                <a:cxn ang="0">
                  <a:pos x="csX1852" y="csY1852"/>
                </a:cxn>
                <a:cxn ang="0">
                  <a:pos x="csX1853" y="csY1853"/>
                </a:cxn>
                <a:cxn ang="0">
                  <a:pos x="csX1854" y="csY1854"/>
                </a:cxn>
                <a:cxn ang="0">
                  <a:pos x="csX1855" y="csY1855"/>
                </a:cxn>
                <a:cxn ang="0">
                  <a:pos x="csX1856" y="csY1856"/>
                </a:cxn>
                <a:cxn ang="0">
                  <a:pos x="csX1857" y="csY1857"/>
                </a:cxn>
                <a:cxn ang="0">
                  <a:pos x="csX1858" y="csY1858"/>
                </a:cxn>
                <a:cxn ang="0">
                  <a:pos x="csX1859" y="csY1859"/>
                </a:cxn>
                <a:cxn ang="0">
                  <a:pos x="csX1860" y="csY1860"/>
                </a:cxn>
                <a:cxn ang="0">
                  <a:pos x="csX1861" y="csY1861"/>
                </a:cxn>
                <a:cxn ang="0">
                  <a:pos x="csX1862" y="csY1862"/>
                </a:cxn>
                <a:cxn ang="0">
                  <a:pos x="csX1863" y="csY1863"/>
                </a:cxn>
                <a:cxn ang="0">
                  <a:pos x="csX1864" y="csY1864"/>
                </a:cxn>
                <a:cxn ang="0">
                  <a:pos x="csX1865" y="csY1865"/>
                </a:cxn>
                <a:cxn ang="0">
                  <a:pos x="csX1866" y="csY1866"/>
                </a:cxn>
                <a:cxn ang="0">
                  <a:pos x="csX1867" y="csY1867"/>
                </a:cxn>
                <a:cxn ang="0">
                  <a:pos x="csX1868" y="csY1868"/>
                </a:cxn>
                <a:cxn ang="0">
                  <a:pos x="csX1869" y="csY1869"/>
                </a:cxn>
                <a:cxn ang="0">
                  <a:pos x="csX1870" y="csY1870"/>
                </a:cxn>
                <a:cxn ang="0">
                  <a:pos x="csX1871" y="csY1871"/>
                </a:cxn>
                <a:cxn ang="0">
                  <a:pos x="csX1872" y="csY1872"/>
                </a:cxn>
                <a:cxn ang="0">
                  <a:pos x="csX1873" y="csY1873"/>
                </a:cxn>
                <a:cxn ang="0">
                  <a:pos x="csX1874" y="csY1874"/>
                </a:cxn>
                <a:cxn ang="0">
                  <a:pos x="csX1875" y="csY1875"/>
                </a:cxn>
                <a:cxn ang="0">
                  <a:pos x="csX1876" y="csY1876"/>
                </a:cxn>
                <a:cxn ang="0">
                  <a:pos x="csX1877" y="csY1877"/>
                </a:cxn>
                <a:cxn ang="0">
                  <a:pos x="csX1878" y="csY1878"/>
                </a:cxn>
                <a:cxn ang="0">
                  <a:pos x="csX1879" y="csY1879"/>
                </a:cxn>
                <a:cxn ang="0">
                  <a:pos x="csX1880" y="csY1880"/>
                </a:cxn>
                <a:cxn ang="0">
                  <a:pos x="csX1881" y="csY1881"/>
                </a:cxn>
                <a:cxn ang="0">
                  <a:pos x="csX1882" y="csY1882"/>
                </a:cxn>
                <a:cxn ang="0">
                  <a:pos x="csX1883" y="csY1883"/>
                </a:cxn>
                <a:cxn ang="0">
                  <a:pos x="csX1884" y="csY1884"/>
                </a:cxn>
                <a:cxn ang="0">
                  <a:pos x="csX1885" y="csY1885"/>
                </a:cxn>
                <a:cxn ang="0">
                  <a:pos x="csX1886" y="csY1886"/>
                </a:cxn>
                <a:cxn ang="0">
                  <a:pos x="csX1887" y="csY1887"/>
                </a:cxn>
                <a:cxn ang="0">
                  <a:pos x="csX1888" y="csY1888"/>
                </a:cxn>
                <a:cxn ang="0">
                  <a:pos x="csX1889" y="csY1889"/>
                </a:cxn>
                <a:cxn ang="0">
                  <a:pos x="csX1890" y="csY1890"/>
                </a:cxn>
                <a:cxn ang="0">
                  <a:pos x="csX1891" y="csY1891"/>
                </a:cxn>
                <a:cxn ang="0">
                  <a:pos x="csX1892" y="csY1892"/>
                </a:cxn>
                <a:cxn ang="0">
                  <a:pos x="csX1893" y="csY1893"/>
                </a:cxn>
                <a:cxn ang="0">
                  <a:pos x="csX1894" y="csY1894"/>
                </a:cxn>
                <a:cxn ang="0">
                  <a:pos x="csX1895" y="csY1895"/>
                </a:cxn>
                <a:cxn ang="0">
                  <a:pos x="csX1896" y="csY1896"/>
                </a:cxn>
                <a:cxn ang="0">
                  <a:pos x="csX1897" y="csY1897"/>
                </a:cxn>
                <a:cxn ang="0">
                  <a:pos x="csX1898" y="csY1898"/>
                </a:cxn>
                <a:cxn ang="0">
                  <a:pos x="csX1899" y="csY1899"/>
                </a:cxn>
                <a:cxn ang="0">
                  <a:pos x="csX1900" y="csY1900"/>
                </a:cxn>
                <a:cxn ang="0">
                  <a:pos x="csX1901" y="csY1901"/>
                </a:cxn>
                <a:cxn ang="0">
                  <a:pos x="csX1902" y="csY1902"/>
                </a:cxn>
                <a:cxn ang="0">
                  <a:pos x="csX1903" y="csY1903"/>
                </a:cxn>
                <a:cxn ang="0">
                  <a:pos x="csX1904" y="csY1904"/>
                </a:cxn>
                <a:cxn ang="0">
                  <a:pos x="csX1905" y="csY1905"/>
                </a:cxn>
                <a:cxn ang="0">
                  <a:pos x="csX1906" y="csY1906"/>
                </a:cxn>
                <a:cxn ang="0">
                  <a:pos x="csX1907" y="csY1907"/>
                </a:cxn>
                <a:cxn ang="0">
                  <a:pos x="csX1908" y="csY1908"/>
                </a:cxn>
                <a:cxn ang="0">
                  <a:pos x="csX1909" y="csY1909"/>
                </a:cxn>
                <a:cxn ang="0">
                  <a:pos x="csX1910" y="csY1910"/>
                </a:cxn>
                <a:cxn ang="0">
                  <a:pos x="csX1911" y="csY1911"/>
                </a:cxn>
                <a:cxn ang="0">
                  <a:pos x="csX1912" y="csY1912"/>
                </a:cxn>
                <a:cxn ang="0">
                  <a:pos x="csX1913" y="csY1913"/>
                </a:cxn>
                <a:cxn ang="0">
                  <a:pos x="csX1914" y="csY1914"/>
                </a:cxn>
                <a:cxn ang="0">
                  <a:pos x="csX1915" y="csY1915"/>
                </a:cxn>
                <a:cxn ang="0">
                  <a:pos x="csX1916" y="csY1916"/>
                </a:cxn>
                <a:cxn ang="0">
                  <a:pos x="csX1917" y="csY1917"/>
                </a:cxn>
                <a:cxn ang="0">
                  <a:pos x="csX1918" y="csY1918"/>
                </a:cxn>
                <a:cxn ang="0">
                  <a:pos x="csX1919" y="csY1919"/>
                </a:cxn>
                <a:cxn ang="0">
                  <a:pos x="csX1920" y="csY1920"/>
                </a:cxn>
                <a:cxn ang="0">
                  <a:pos x="csX1921" y="csY1921"/>
                </a:cxn>
                <a:cxn ang="0">
                  <a:pos x="csX1922" y="csY1922"/>
                </a:cxn>
                <a:cxn ang="0">
                  <a:pos x="csX1923" y="csY1923"/>
                </a:cxn>
                <a:cxn ang="0">
                  <a:pos x="csX1924" y="csY1924"/>
                </a:cxn>
                <a:cxn ang="0">
                  <a:pos x="csX1925" y="csY1925"/>
                </a:cxn>
                <a:cxn ang="0">
                  <a:pos x="csX1926" y="csY1926"/>
                </a:cxn>
                <a:cxn ang="0">
                  <a:pos x="csX1927" y="csY1927"/>
                </a:cxn>
                <a:cxn ang="0">
                  <a:pos x="csX1928" y="csY1928"/>
                </a:cxn>
                <a:cxn ang="0">
                  <a:pos x="csX1929" y="csY1929"/>
                </a:cxn>
                <a:cxn ang="0">
                  <a:pos x="csX1930" y="csY1930"/>
                </a:cxn>
                <a:cxn ang="0">
                  <a:pos x="csX1931" y="csY1931"/>
                </a:cxn>
                <a:cxn ang="0">
                  <a:pos x="csX1932" y="csY1932"/>
                </a:cxn>
                <a:cxn ang="0">
                  <a:pos x="csX1933" y="csY1933"/>
                </a:cxn>
                <a:cxn ang="0">
                  <a:pos x="csX1934" y="csY1934"/>
                </a:cxn>
                <a:cxn ang="0">
                  <a:pos x="csX1935" y="csY1935"/>
                </a:cxn>
                <a:cxn ang="0">
                  <a:pos x="csX1936" y="csY1936"/>
                </a:cxn>
                <a:cxn ang="0">
                  <a:pos x="csX1937" y="csY1937"/>
                </a:cxn>
                <a:cxn ang="0">
                  <a:pos x="csX1938" y="csY1938"/>
                </a:cxn>
                <a:cxn ang="0">
                  <a:pos x="csX1939" y="csY1939"/>
                </a:cxn>
                <a:cxn ang="0">
                  <a:pos x="csX1940" y="csY1940"/>
                </a:cxn>
                <a:cxn ang="0">
                  <a:pos x="csX1941" y="csY1941"/>
                </a:cxn>
                <a:cxn ang="0">
                  <a:pos x="csX1942" y="csY1942"/>
                </a:cxn>
                <a:cxn ang="0">
                  <a:pos x="csX1943" y="csY1943"/>
                </a:cxn>
                <a:cxn ang="0">
                  <a:pos x="csX1944" y="csY1944"/>
                </a:cxn>
                <a:cxn ang="0">
                  <a:pos x="csX1945" y="csY1945"/>
                </a:cxn>
                <a:cxn ang="0">
                  <a:pos x="csX1946" y="csY1946"/>
                </a:cxn>
                <a:cxn ang="0">
                  <a:pos x="csX1947" y="csY1947"/>
                </a:cxn>
                <a:cxn ang="0">
                  <a:pos x="csX1948" y="csY1948"/>
                </a:cxn>
                <a:cxn ang="0">
                  <a:pos x="csX1949" y="csY1949"/>
                </a:cxn>
                <a:cxn ang="0">
                  <a:pos x="csX1950" y="csY1950"/>
                </a:cxn>
                <a:cxn ang="0">
                  <a:pos x="csX1951" y="csY1951"/>
                </a:cxn>
                <a:cxn ang="0">
                  <a:pos x="csX1952" y="csY1952"/>
                </a:cxn>
                <a:cxn ang="0">
                  <a:pos x="csX1953" y="csY1953"/>
                </a:cxn>
                <a:cxn ang="0">
                  <a:pos x="csX1954" y="csY1954"/>
                </a:cxn>
                <a:cxn ang="0">
                  <a:pos x="csX1955" y="csY1955"/>
                </a:cxn>
                <a:cxn ang="0">
                  <a:pos x="csX1956" y="csY1956"/>
                </a:cxn>
                <a:cxn ang="0">
                  <a:pos x="csX1957" y="csY1957"/>
                </a:cxn>
                <a:cxn ang="0">
                  <a:pos x="csX1958" y="csY1958"/>
                </a:cxn>
                <a:cxn ang="0">
                  <a:pos x="csX1959" y="csY1959"/>
                </a:cxn>
                <a:cxn ang="0">
                  <a:pos x="csX1960" y="csY1960"/>
                </a:cxn>
                <a:cxn ang="0">
                  <a:pos x="csX1961" y="csY1961"/>
                </a:cxn>
                <a:cxn ang="0">
                  <a:pos x="csX1962" y="csY1962"/>
                </a:cxn>
                <a:cxn ang="0">
                  <a:pos x="csX1963" y="csY1963"/>
                </a:cxn>
                <a:cxn ang="0">
                  <a:pos x="csX1964" y="csY1964"/>
                </a:cxn>
                <a:cxn ang="0">
                  <a:pos x="csX1965" y="csY1965"/>
                </a:cxn>
                <a:cxn ang="0">
                  <a:pos x="csX1966" y="csY1966"/>
                </a:cxn>
                <a:cxn ang="0">
                  <a:pos x="csX1967" y="csY1967"/>
                </a:cxn>
                <a:cxn ang="0">
                  <a:pos x="csX1968" y="csY1968"/>
                </a:cxn>
                <a:cxn ang="0">
                  <a:pos x="csX1969" y="csY1969"/>
                </a:cxn>
                <a:cxn ang="0">
                  <a:pos x="csX1970" y="csY1970"/>
                </a:cxn>
                <a:cxn ang="0">
                  <a:pos x="csX1971" y="csY1971"/>
                </a:cxn>
                <a:cxn ang="0">
                  <a:pos x="csX1972" y="csY1972"/>
                </a:cxn>
                <a:cxn ang="0">
                  <a:pos x="csX1973" y="csY1973"/>
                </a:cxn>
                <a:cxn ang="0">
                  <a:pos x="csX1974" y="csY1974"/>
                </a:cxn>
                <a:cxn ang="0">
                  <a:pos x="csX1975" y="csY1975"/>
                </a:cxn>
                <a:cxn ang="0">
                  <a:pos x="csX1976" y="csY1976"/>
                </a:cxn>
                <a:cxn ang="0">
                  <a:pos x="csX1977" y="csY1977"/>
                </a:cxn>
                <a:cxn ang="0">
                  <a:pos x="csX1978" y="csY1978"/>
                </a:cxn>
                <a:cxn ang="0">
                  <a:pos x="csX1979" y="csY1979"/>
                </a:cxn>
                <a:cxn ang="0">
                  <a:pos x="csX1980" y="csY1980"/>
                </a:cxn>
                <a:cxn ang="0">
                  <a:pos x="csX1981" y="csY1981"/>
                </a:cxn>
                <a:cxn ang="0">
                  <a:pos x="csX1982" y="csY1982"/>
                </a:cxn>
                <a:cxn ang="0">
                  <a:pos x="csX1983" y="csY1983"/>
                </a:cxn>
                <a:cxn ang="0">
                  <a:pos x="csX1984" y="csY1984"/>
                </a:cxn>
                <a:cxn ang="0">
                  <a:pos x="csX1985" y="csY1985"/>
                </a:cxn>
                <a:cxn ang="0">
                  <a:pos x="csX1986" y="csY1986"/>
                </a:cxn>
                <a:cxn ang="0">
                  <a:pos x="csX1987" y="csY1987"/>
                </a:cxn>
                <a:cxn ang="0">
                  <a:pos x="csX1988" y="csY1988"/>
                </a:cxn>
                <a:cxn ang="0">
                  <a:pos x="csX1989" y="csY1989"/>
                </a:cxn>
                <a:cxn ang="0">
                  <a:pos x="csX1990" y="csY1990"/>
                </a:cxn>
                <a:cxn ang="0">
                  <a:pos x="csX1991" y="csY1991"/>
                </a:cxn>
                <a:cxn ang="0">
                  <a:pos x="csX1992" y="csY1992"/>
                </a:cxn>
                <a:cxn ang="0">
                  <a:pos x="csX1993" y="csY1993"/>
                </a:cxn>
                <a:cxn ang="0">
                  <a:pos x="csX1994" y="csY1994"/>
                </a:cxn>
                <a:cxn ang="0">
                  <a:pos x="csX1995" y="csY1995"/>
                </a:cxn>
                <a:cxn ang="0">
                  <a:pos x="csX1996" y="csY1996"/>
                </a:cxn>
                <a:cxn ang="0">
                  <a:pos x="csX1997" y="csY1997"/>
                </a:cxn>
                <a:cxn ang="0">
                  <a:pos x="csX1998" y="csY1998"/>
                </a:cxn>
                <a:cxn ang="0">
                  <a:pos x="csX1999" y="csY1999"/>
                </a:cxn>
                <a:cxn ang="0">
                  <a:pos x="csX2000" y="csY2000"/>
                </a:cxn>
                <a:cxn ang="0">
                  <a:pos x="csX2001" y="csY2001"/>
                </a:cxn>
                <a:cxn ang="0">
                  <a:pos x="csX2002" y="csY2002"/>
                </a:cxn>
                <a:cxn ang="0">
                  <a:pos x="csX2003" y="csY2003"/>
                </a:cxn>
                <a:cxn ang="0">
                  <a:pos x="csX2004" y="csY2004"/>
                </a:cxn>
                <a:cxn ang="0">
                  <a:pos x="csX2005" y="csY2005"/>
                </a:cxn>
                <a:cxn ang="0">
                  <a:pos x="csX2006" y="csY2006"/>
                </a:cxn>
                <a:cxn ang="0">
                  <a:pos x="csX2007" y="csY2007"/>
                </a:cxn>
                <a:cxn ang="0">
                  <a:pos x="csX2008" y="csY2008"/>
                </a:cxn>
                <a:cxn ang="0">
                  <a:pos x="csX2009" y="csY2009"/>
                </a:cxn>
                <a:cxn ang="0">
                  <a:pos x="csX2010" y="csY2010"/>
                </a:cxn>
                <a:cxn ang="0">
                  <a:pos x="csX2011" y="csY2011"/>
                </a:cxn>
                <a:cxn ang="0">
                  <a:pos x="csX2012" y="csY2012"/>
                </a:cxn>
                <a:cxn ang="0">
                  <a:pos x="csX2013" y="csY2013"/>
                </a:cxn>
                <a:cxn ang="0">
                  <a:pos x="csX2014" y="csY2014"/>
                </a:cxn>
                <a:cxn ang="0">
                  <a:pos x="csX2015" y="csY2015"/>
                </a:cxn>
                <a:cxn ang="0">
                  <a:pos x="csX2016" y="csY2016"/>
                </a:cxn>
                <a:cxn ang="0">
                  <a:pos x="csX2017" y="csY2017"/>
                </a:cxn>
                <a:cxn ang="0">
                  <a:pos x="csX2018" y="csY2018"/>
                </a:cxn>
                <a:cxn ang="0">
                  <a:pos x="csX2019" y="csY2019"/>
                </a:cxn>
                <a:cxn ang="0">
                  <a:pos x="csX2020" y="csY2020"/>
                </a:cxn>
                <a:cxn ang="0">
                  <a:pos x="csX2021" y="csY2021"/>
                </a:cxn>
                <a:cxn ang="0">
                  <a:pos x="csX2022" y="csY2022"/>
                </a:cxn>
                <a:cxn ang="0">
                  <a:pos x="csX2023" y="csY2023"/>
                </a:cxn>
                <a:cxn ang="0">
                  <a:pos x="csX2024" y="csY2024"/>
                </a:cxn>
                <a:cxn ang="0">
                  <a:pos x="csX2025" y="csY2025"/>
                </a:cxn>
                <a:cxn ang="0">
                  <a:pos x="csX2026" y="csY2026"/>
                </a:cxn>
                <a:cxn ang="0">
                  <a:pos x="csX2027" y="csY2027"/>
                </a:cxn>
                <a:cxn ang="0">
                  <a:pos x="csX2028" y="csY2028"/>
                </a:cxn>
                <a:cxn ang="0">
                  <a:pos x="csX2029" y="csY2029"/>
                </a:cxn>
                <a:cxn ang="0">
                  <a:pos x="csX2030" y="csY2030"/>
                </a:cxn>
                <a:cxn ang="0">
                  <a:pos x="csX2031" y="csY2031"/>
                </a:cxn>
                <a:cxn ang="0">
                  <a:pos x="csX2032" y="csY2032"/>
                </a:cxn>
                <a:cxn ang="0">
                  <a:pos x="csX2033" y="csY2033"/>
                </a:cxn>
                <a:cxn ang="0">
                  <a:pos x="csX2034" y="csY2034"/>
                </a:cxn>
                <a:cxn ang="0">
                  <a:pos x="csX2035" y="csY2035"/>
                </a:cxn>
                <a:cxn ang="0">
                  <a:pos x="csX2036" y="csY2036"/>
                </a:cxn>
                <a:cxn ang="0">
                  <a:pos x="csX2037" y="csY2037"/>
                </a:cxn>
                <a:cxn ang="0">
                  <a:pos x="csX2038" y="csY2038"/>
                </a:cxn>
                <a:cxn ang="0">
                  <a:pos x="csX2039" y="csY2039"/>
                </a:cxn>
                <a:cxn ang="0">
                  <a:pos x="csX2040" y="csY2040"/>
                </a:cxn>
                <a:cxn ang="0">
                  <a:pos x="csX2041" y="csY2041"/>
                </a:cxn>
                <a:cxn ang="0">
                  <a:pos x="csX2042" y="csY2042"/>
                </a:cxn>
                <a:cxn ang="0">
                  <a:pos x="csX2043" y="csY2043"/>
                </a:cxn>
                <a:cxn ang="0">
                  <a:pos x="csX2044" y="csY2044"/>
                </a:cxn>
                <a:cxn ang="0">
                  <a:pos x="csX2045" y="csY2045"/>
                </a:cxn>
                <a:cxn ang="0">
                  <a:pos x="csX2046" y="csY2046"/>
                </a:cxn>
                <a:cxn ang="0">
                  <a:pos x="csX2047" y="csY2047"/>
                </a:cxn>
                <a:cxn ang="0">
                  <a:pos x="csX2048" y="csY2048"/>
                </a:cxn>
                <a:cxn ang="0">
                  <a:pos x="csX2049" y="csY2049"/>
                </a:cxn>
                <a:cxn ang="0">
                  <a:pos x="csX2050" y="csY2050"/>
                </a:cxn>
                <a:cxn ang="0">
                  <a:pos x="csX2051" y="csY2051"/>
                </a:cxn>
                <a:cxn ang="0">
                  <a:pos x="csX2052" y="csY2052"/>
                </a:cxn>
                <a:cxn ang="0">
                  <a:pos x="csX2053" y="csY2053"/>
                </a:cxn>
                <a:cxn ang="0">
                  <a:pos x="csX2054" y="csY2054"/>
                </a:cxn>
                <a:cxn ang="0">
                  <a:pos x="csX2055" y="csY2055"/>
                </a:cxn>
                <a:cxn ang="0">
                  <a:pos x="csX2056" y="csY2056"/>
                </a:cxn>
                <a:cxn ang="0">
                  <a:pos x="csX2057" y="csY2057"/>
                </a:cxn>
                <a:cxn ang="0">
                  <a:pos x="csX2058" y="csY2058"/>
                </a:cxn>
                <a:cxn ang="0">
                  <a:pos x="csX2059" y="csY2059"/>
                </a:cxn>
                <a:cxn ang="0">
                  <a:pos x="csX2060" y="csY2060"/>
                </a:cxn>
                <a:cxn ang="0">
                  <a:pos x="csX2061" y="csY2061"/>
                </a:cxn>
                <a:cxn ang="0">
                  <a:pos x="csX2062" y="csY2062"/>
                </a:cxn>
                <a:cxn ang="0">
                  <a:pos x="csX2063" y="csY2063"/>
                </a:cxn>
                <a:cxn ang="0">
                  <a:pos x="csX2064" y="csY2064"/>
                </a:cxn>
                <a:cxn ang="0">
                  <a:pos x="csX2065" y="csY2065"/>
                </a:cxn>
                <a:cxn ang="0">
                  <a:pos x="csX2066" y="csY2066"/>
                </a:cxn>
                <a:cxn ang="0">
                  <a:pos x="csX2067" y="csY2067"/>
                </a:cxn>
                <a:cxn ang="0">
                  <a:pos x="csX2068" y="csY2068"/>
                </a:cxn>
                <a:cxn ang="0">
                  <a:pos x="csX2069" y="csY2069"/>
                </a:cxn>
                <a:cxn ang="0">
                  <a:pos x="csX2070" y="csY2070"/>
                </a:cxn>
                <a:cxn ang="0">
                  <a:pos x="csX2071" y="csY2071"/>
                </a:cxn>
                <a:cxn ang="0">
                  <a:pos x="csX2072" y="csY2072"/>
                </a:cxn>
                <a:cxn ang="0">
                  <a:pos x="csX2073" y="csY2073"/>
                </a:cxn>
                <a:cxn ang="0">
                  <a:pos x="csX2074" y="csY2074"/>
                </a:cxn>
                <a:cxn ang="0">
                  <a:pos x="csX2075" y="csY2075"/>
                </a:cxn>
                <a:cxn ang="0">
                  <a:pos x="csX2076" y="csY2076"/>
                </a:cxn>
                <a:cxn ang="0">
                  <a:pos x="csX2077" y="csY2077"/>
                </a:cxn>
                <a:cxn ang="0">
                  <a:pos x="csX2078" y="csY2078"/>
                </a:cxn>
                <a:cxn ang="0">
                  <a:pos x="csX2079" y="csY2079"/>
                </a:cxn>
                <a:cxn ang="0">
                  <a:pos x="csX2080" y="csY2080"/>
                </a:cxn>
                <a:cxn ang="0">
                  <a:pos x="csX2081" y="csY2081"/>
                </a:cxn>
                <a:cxn ang="0">
                  <a:pos x="csX2082" y="csY2082"/>
                </a:cxn>
                <a:cxn ang="0">
                  <a:pos x="csX2083" y="csY2083"/>
                </a:cxn>
                <a:cxn ang="0">
                  <a:pos x="csX2084" y="csY2084"/>
                </a:cxn>
                <a:cxn ang="0">
                  <a:pos x="csX2085" y="csY2085"/>
                </a:cxn>
                <a:cxn ang="0">
                  <a:pos x="csX2086" y="csY2086"/>
                </a:cxn>
                <a:cxn ang="0">
                  <a:pos x="csX2087" y="csY2087"/>
                </a:cxn>
                <a:cxn ang="0">
                  <a:pos x="csX2088" y="csY2088"/>
                </a:cxn>
                <a:cxn ang="0">
                  <a:pos x="csX2089" y="csY2089"/>
                </a:cxn>
                <a:cxn ang="0">
                  <a:pos x="csX2090" y="csY2090"/>
                </a:cxn>
                <a:cxn ang="0">
                  <a:pos x="csX2091" y="csY2091"/>
                </a:cxn>
                <a:cxn ang="0">
                  <a:pos x="csX2092" y="csY2092"/>
                </a:cxn>
                <a:cxn ang="0">
                  <a:pos x="csX2093" y="csY2093"/>
                </a:cxn>
                <a:cxn ang="0">
                  <a:pos x="csX2094" y="csY2094"/>
                </a:cxn>
                <a:cxn ang="0">
                  <a:pos x="csX2095" y="csY2095"/>
                </a:cxn>
                <a:cxn ang="0">
                  <a:pos x="csX2096" y="csY2096"/>
                </a:cxn>
                <a:cxn ang="0">
                  <a:pos x="csX2097" y="csY2097"/>
                </a:cxn>
                <a:cxn ang="0">
                  <a:pos x="csX2098" y="csY2098"/>
                </a:cxn>
                <a:cxn ang="0">
                  <a:pos x="csX2099" y="csY2099"/>
                </a:cxn>
                <a:cxn ang="0">
                  <a:pos x="csX2100" y="csY2100"/>
                </a:cxn>
                <a:cxn ang="0">
                  <a:pos x="csX2101" y="csY2101"/>
                </a:cxn>
                <a:cxn ang="0">
                  <a:pos x="csX2102" y="csY2102"/>
                </a:cxn>
                <a:cxn ang="0">
                  <a:pos x="csX2103" y="csY2103"/>
                </a:cxn>
                <a:cxn ang="0">
                  <a:pos x="csX2104" y="csY2104"/>
                </a:cxn>
                <a:cxn ang="0">
                  <a:pos x="csX2105" y="csY2105"/>
                </a:cxn>
                <a:cxn ang="0">
                  <a:pos x="csX2106" y="csY2106"/>
                </a:cxn>
                <a:cxn ang="0">
                  <a:pos x="csX2107" y="csY2107"/>
                </a:cxn>
                <a:cxn ang="0">
                  <a:pos x="csX2108" y="csY2108"/>
                </a:cxn>
                <a:cxn ang="0">
                  <a:pos x="csX2109" y="csY2109"/>
                </a:cxn>
                <a:cxn ang="0">
                  <a:pos x="csX2110" y="csY2110"/>
                </a:cxn>
                <a:cxn ang="0">
                  <a:pos x="csX2111" y="csY2111"/>
                </a:cxn>
                <a:cxn ang="0">
                  <a:pos x="csX2112" y="csY2112"/>
                </a:cxn>
                <a:cxn ang="0">
                  <a:pos x="csX2113" y="csY2113"/>
                </a:cxn>
                <a:cxn ang="0">
                  <a:pos x="csX2114" y="csY2114"/>
                </a:cxn>
                <a:cxn ang="0">
                  <a:pos x="csX2115" y="csY2115"/>
                </a:cxn>
                <a:cxn ang="0">
                  <a:pos x="csX2116" y="csY2116"/>
                </a:cxn>
                <a:cxn ang="0">
                  <a:pos x="csX2117" y="csY2117"/>
                </a:cxn>
                <a:cxn ang="0">
                  <a:pos x="csX2118" y="csY2118"/>
                </a:cxn>
                <a:cxn ang="0">
                  <a:pos x="csX2119" y="csY2119"/>
                </a:cxn>
                <a:cxn ang="0">
                  <a:pos x="csX2120" y="csY2120"/>
                </a:cxn>
                <a:cxn ang="0">
                  <a:pos x="csX2121" y="csY2121"/>
                </a:cxn>
                <a:cxn ang="0">
                  <a:pos x="csX2122" y="csY2122"/>
                </a:cxn>
                <a:cxn ang="0">
                  <a:pos x="csX2123" y="csY2123"/>
                </a:cxn>
                <a:cxn ang="0">
                  <a:pos x="csX2124" y="csY2124"/>
                </a:cxn>
                <a:cxn ang="0">
                  <a:pos x="csX2125" y="csY2125"/>
                </a:cxn>
                <a:cxn ang="0">
                  <a:pos x="csX2126" y="csY2126"/>
                </a:cxn>
                <a:cxn ang="0">
                  <a:pos x="csX2127" y="csY2127"/>
                </a:cxn>
                <a:cxn ang="0">
                  <a:pos x="csX2128" y="csY2128"/>
                </a:cxn>
                <a:cxn ang="0">
                  <a:pos x="csX2129" y="csY2129"/>
                </a:cxn>
                <a:cxn ang="0">
                  <a:pos x="csX2130" y="csY2130"/>
                </a:cxn>
                <a:cxn ang="0">
                  <a:pos x="csX2131" y="csY2131"/>
                </a:cxn>
                <a:cxn ang="0">
                  <a:pos x="csX2132" y="csY2132"/>
                </a:cxn>
                <a:cxn ang="0">
                  <a:pos x="csX2133" y="csY2133"/>
                </a:cxn>
                <a:cxn ang="0">
                  <a:pos x="csX2134" y="csY2134"/>
                </a:cxn>
                <a:cxn ang="0">
                  <a:pos x="csX2135" y="csY2135"/>
                </a:cxn>
                <a:cxn ang="0">
                  <a:pos x="csX2136" y="csY2136"/>
                </a:cxn>
                <a:cxn ang="0">
                  <a:pos x="csX2137" y="csY2137"/>
                </a:cxn>
                <a:cxn ang="0">
                  <a:pos x="csX2138" y="csY2138"/>
                </a:cxn>
                <a:cxn ang="0">
                  <a:pos x="csX2139" y="csY2139"/>
                </a:cxn>
                <a:cxn ang="0">
                  <a:pos x="csX2140" y="csY2140"/>
                </a:cxn>
                <a:cxn ang="0">
                  <a:pos x="csX2141" y="csY2141"/>
                </a:cxn>
                <a:cxn ang="0">
                  <a:pos x="csX2142" y="csY2142"/>
                </a:cxn>
                <a:cxn ang="0">
                  <a:pos x="csX2143" y="csY2143"/>
                </a:cxn>
                <a:cxn ang="0">
                  <a:pos x="csX2144" y="csY2144"/>
                </a:cxn>
                <a:cxn ang="0">
                  <a:pos x="csX2145" y="csY2145"/>
                </a:cxn>
                <a:cxn ang="0">
                  <a:pos x="csX2146" y="csY2146"/>
                </a:cxn>
                <a:cxn ang="0">
                  <a:pos x="csX2147" y="csY2147"/>
                </a:cxn>
                <a:cxn ang="0">
                  <a:pos x="csX2148" y="csY2148"/>
                </a:cxn>
                <a:cxn ang="0">
                  <a:pos x="csX2149" y="csY2149"/>
                </a:cxn>
                <a:cxn ang="0">
                  <a:pos x="csX2150" y="csY2150"/>
                </a:cxn>
                <a:cxn ang="0">
                  <a:pos x="csX2151" y="csY2151"/>
                </a:cxn>
                <a:cxn ang="0">
                  <a:pos x="csX2152" y="csY2152"/>
                </a:cxn>
                <a:cxn ang="0">
                  <a:pos x="csX2153" y="csY2153"/>
                </a:cxn>
                <a:cxn ang="0">
                  <a:pos x="csX2154" y="csY2154"/>
                </a:cxn>
                <a:cxn ang="0">
                  <a:pos x="csX2155" y="csY2155"/>
                </a:cxn>
                <a:cxn ang="0">
                  <a:pos x="csX2156" y="csY2156"/>
                </a:cxn>
                <a:cxn ang="0">
                  <a:pos x="csX2157" y="csY2157"/>
                </a:cxn>
                <a:cxn ang="0">
                  <a:pos x="csX2158" y="csY2158"/>
                </a:cxn>
                <a:cxn ang="0">
                  <a:pos x="csX2159" y="csY2159"/>
                </a:cxn>
                <a:cxn ang="0">
                  <a:pos x="csX2160" y="csY2160"/>
                </a:cxn>
                <a:cxn ang="0">
                  <a:pos x="csX2161" y="csY2161"/>
                </a:cxn>
                <a:cxn ang="0">
                  <a:pos x="csX2162" y="csY2162"/>
                </a:cxn>
                <a:cxn ang="0">
                  <a:pos x="csX2163" y="csY2163"/>
                </a:cxn>
                <a:cxn ang="0">
                  <a:pos x="csX2164" y="csY2164"/>
                </a:cxn>
                <a:cxn ang="0">
                  <a:pos x="csX2165" y="csY2165"/>
                </a:cxn>
                <a:cxn ang="0">
                  <a:pos x="csX2166" y="csY2166"/>
                </a:cxn>
                <a:cxn ang="0">
                  <a:pos x="csX2167" y="csY2167"/>
                </a:cxn>
                <a:cxn ang="0">
                  <a:pos x="csX2168" y="csY2168"/>
                </a:cxn>
                <a:cxn ang="0">
                  <a:pos x="csX2169" y="csY2169"/>
                </a:cxn>
                <a:cxn ang="0">
                  <a:pos x="csX2170" y="csY2170"/>
                </a:cxn>
                <a:cxn ang="0">
                  <a:pos x="csX2171" y="csY2171"/>
                </a:cxn>
                <a:cxn ang="0">
                  <a:pos x="csX2172" y="csY2172"/>
                </a:cxn>
                <a:cxn ang="0">
                  <a:pos x="csX2173" y="csY2173"/>
                </a:cxn>
                <a:cxn ang="0">
                  <a:pos x="csX2174" y="csY2174"/>
                </a:cxn>
                <a:cxn ang="0">
                  <a:pos x="csX2175" y="csY2175"/>
                </a:cxn>
                <a:cxn ang="0">
                  <a:pos x="csX2176" y="csY2176"/>
                </a:cxn>
                <a:cxn ang="0">
                  <a:pos x="csX2177" y="csY2177"/>
                </a:cxn>
                <a:cxn ang="0">
                  <a:pos x="csX2178" y="csY2178"/>
                </a:cxn>
                <a:cxn ang="0">
                  <a:pos x="csX2179" y="csY2179"/>
                </a:cxn>
                <a:cxn ang="0">
                  <a:pos x="csX2180" y="csY2180"/>
                </a:cxn>
                <a:cxn ang="0">
                  <a:pos x="csX2181" y="csY2181"/>
                </a:cxn>
                <a:cxn ang="0">
                  <a:pos x="csX2182" y="csY2182"/>
                </a:cxn>
                <a:cxn ang="0">
                  <a:pos x="csX2183" y="csY2183"/>
                </a:cxn>
                <a:cxn ang="0">
                  <a:pos x="csX2184" y="csY2184"/>
                </a:cxn>
                <a:cxn ang="0">
                  <a:pos x="csX2185" y="csY2185"/>
                </a:cxn>
                <a:cxn ang="0">
                  <a:pos x="csX2186" y="csY2186"/>
                </a:cxn>
                <a:cxn ang="0">
                  <a:pos x="csX2187" y="csY2187"/>
                </a:cxn>
                <a:cxn ang="0">
                  <a:pos x="csX2188" y="csY2188"/>
                </a:cxn>
                <a:cxn ang="0">
                  <a:pos x="csX2189" y="csY2189"/>
                </a:cxn>
                <a:cxn ang="0">
                  <a:pos x="csX2190" y="csY2190"/>
                </a:cxn>
                <a:cxn ang="0">
                  <a:pos x="csX2191" y="csY2191"/>
                </a:cxn>
                <a:cxn ang="0">
                  <a:pos x="csX2192" y="csY2192"/>
                </a:cxn>
                <a:cxn ang="0">
                  <a:pos x="csX2193" y="csY2193"/>
                </a:cxn>
                <a:cxn ang="0">
                  <a:pos x="csX2194" y="csY2194"/>
                </a:cxn>
                <a:cxn ang="0">
                  <a:pos x="csX2195" y="csY2195"/>
                </a:cxn>
                <a:cxn ang="0">
                  <a:pos x="csX2196" y="csY2196"/>
                </a:cxn>
                <a:cxn ang="0">
                  <a:pos x="csX2197" y="csY2197"/>
                </a:cxn>
                <a:cxn ang="0">
                  <a:pos x="csX2198" y="csY2198"/>
                </a:cxn>
                <a:cxn ang="0">
                  <a:pos x="csX2199" y="csY2199"/>
                </a:cxn>
                <a:cxn ang="0">
                  <a:pos x="csX2200" y="csY2200"/>
                </a:cxn>
                <a:cxn ang="0">
                  <a:pos x="csX2201" y="csY2201"/>
                </a:cxn>
                <a:cxn ang="0">
                  <a:pos x="csX2202" y="csY2202"/>
                </a:cxn>
                <a:cxn ang="0">
                  <a:pos x="csX2203" y="csY2203"/>
                </a:cxn>
                <a:cxn ang="0">
                  <a:pos x="csX2204" y="csY2204"/>
                </a:cxn>
                <a:cxn ang="0">
                  <a:pos x="csX2205" y="csY2205"/>
                </a:cxn>
                <a:cxn ang="0">
                  <a:pos x="csX2206" y="csY2206"/>
                </a:cxn>
                <a:cxn ang="0">
                  <a:pos x="csX2207" y="csY2207"/>
                </a:cxn>
                <a:cxn ang="0">
                  <a:pos x="csX2208" y="csY2208"/>
                </a:cxn>
                <a:cxn ang="0">
                  <a:pos x="csX2209" y="csY2209"/>
                </a:cxn>
              </a:cxnLst>
              <a:rect l="l" t="t" r="r" b="b"/>
              <a:pathLst>
                <a:path w="1006844" h="884702">
                  <a:moveTo>
                    <a:pt x="475594" y="12791"/>
                  </a:moveTo>
                  <a:cubicBezTo>
                    <a:pt x="475594" y="19859"/>
                    <a:pt x="469871" y="25582"/>
                    <a:pt x="462803" y="25582"/>
                  </a:cubicBezTo>
                  <a:cubicBezTo>
                    <a:pt x="455735" y="25582"/>
                    <a:pt x="450012" y="19859"/>
                    <a:pt x="450012" y="12791"/>
                  </a:cubicBezTo>
                  <a:cubicBezTo>
                    <a:pt x="450012" y="5723"/>
                    <a:pt x="455735" y="0"/>
                    <a:pt x="462803" y="0"/>
                  </a:cubicBezTo>
                  <a:cubicBezTo>
                    <a:pt x="469871" y="0"/>
                    <a:pt x="475594" y="5723"/>
                    <a:pt x="475594" y="12791"/>
                  </a:cubicBezTo>
                  <a:moveTo>
                    <a:pt x="462803" y="40904"/>
                  </a:moveTo>
                  <a:cubicBezTo>
                    <a:pt x="455735" y="40904"/>
                    <a:pt x="450012" y="46627"/>
                    <a:pt x="450012" y="53695"/>
                  </a:cubicBezTo>
                  <a:cubicBezTo>
                    <a:pt x="450012" y="60763"/>
                    <a:pt x="455735" y="66486"/>
                    <a:pt x="462803" y="66486"/>
                  </a:cubicBezTo>
                  <a:cubicBezTo>
                    <a:pt x="469871" y="66486"/>
                    <a:pt x="475594" y="60763"/>
                    <a:pt x="475594" y="53695"/>
                  </a:cubicBezTo>
                  <a:cubicBezTo>
                    <a:pt x="475594" y="46627"/>
                    <a:pt x="469871" y="40904"/>
                    <a:pt x="462803" y="40904"/>
                  </a:cubicBezTo>
                  <a:moveTo>
                    <a:pt x="462803" y="81831"/>
                  </a:moveTo>
                  <a:cubicBezTo>
                    <a:pt x="455735" y="81831"/>
                    <a:pt x="450012" y="87554"/>
                    <a:pt x="450012" y="94622"/>
                  </a:cubicBezTo>
                  <a:cubicBezTo>
                    <a:pt x="450012" y="101690"/>
                    <a:pt x="455735" y="107413"/>
                    <a:pt x="462803" y="107413"/>
                  </a:cubicBezTo>
                  <a:cubicBezTo>
                    <a:pt x="469871" y="107413"/>
                    <a:pt x="475594" y="101690"/>
                    <a:pt x="475594" y="94622"/>
                  </a:cubicBezTo>
                  <a:cubicBezTo>
                    <a:pt x="475594" y="87554"/>
                    <a:pt x="469871" y="81831"/>
                    <a:pt x="462803" y="81831"/>
                  </a:cubicBezTo>
                  <a:moveTo>
                    <a:pt x="462803" y="122735"/>
                  </a:moveTo>
                  <a:cubicBezTo>
                    <a:pt x="455735" y="122735"/>
                    <a:pt x="450012" y="128458"/>
                    <a:pt x="450012" y="135526"/>
                  </a:cubicBezTo>
                  <a:cubicBezTo>
                    <a:pt x="450012" y="142594"/>
                    <a:pt x="455735" y="148317"/>
                    <a:pt x="462803" y="148317"/>
                  </a:cubicBezTo>
                  <a:cubicBezTo>
                    <a:pt x="469871" y="148317"/>
                    <a:pt x="475594" y="142594"/>
                    <a:pt x="475594" y="135526"/>
                  </a:cubicBezTo>
                  <a:cubicBezTo>
                    <a:pt x="475594" y="128458"/>
                    <a:pt x="469871" y="122735"/>
                    <a:pt x="462803" y="122735"/>
                  </a:cubicBezTo>
                  <a:moveTo>
                    <a:pt x="462803" y="163639"/>
                  </a:moveTo>
                  <a:cubicBezTo>
                    <a:pt x="455735" y="163639"/>
                    <a:pt x="450012" y="169362"/>
                    <a:pt x="450012" y="176430"/>
                  </a:cubicBezTo>
                  <a:cubicBezTo>
                    <a:pt x="450012" y="183498"/>
                    <a:pt x="455735" y="189221"/>
                    <a:pt x="462803" y="189221"/>
                  </a:cubicBezTo>
                  <a:cubicBezTo>
                    <a:pt x="469871" y="189221"/>
                    <a:pt x="475594" y="183498"/>
                    <a:pt x="475594" y="176430"/>
                  </a:cubicBezTo>
                  <a:cubicBezTo>
                    <a:pt x="475594" y="169362"/>
                    <a:pt x="469871" y="163639"/>
                    <a:pt x="462803" y="163639"/>
                  </a:cubicBezTo>
                  <a:moveTo>
                    <a:pt x="462803" y="409108"/>
                  </a:moveTo>
                  <a:cubicBezTo>
                    <a:pt x="455735" y="409108"/>
                    <a:pt x="450012" y="414831"/>
                    <a:pt x="450012" y="421899"/>
                  </a:cubicBezTo>
                  <a:cubicBezTo>
                    <a:pt x="450012" y="428967"/>
                    <a:pt x="455735" y="434690"/>
                    <a:pt x="462803" y="434690"/>
                  </a:cubicBezTo>
                  <a:cubicBezTo>
                    <a:pt x="469871" y="434690"/>
                    <a:pt x="475594" y="428967"/>
                    <a:pt x="475594" y="421899"/>
                  </a:cubicBezTo>
                  <a:cubicBezTo>
                    <a:pt x="475594" y="414831"/>
                    <a:pt x="469871" y="409108"/>
                    <a:pt x="462803" y="409108"/>
                  </a:cubicBezTo>
                  <a:moveTo>
                    <a:pt x="462803" y="450012"/>
                  </a:moveTo>
                  <a:cubicBezTo>
                    <a:pt x="455735" y="450012"/>
                    <a:pt x="450012" y="455735"/>
                    <a:pt x="450012" y="462803"/>
                  </a:cubicBezTo>
                  <a:cubicBezTo>
                    <a:pt x="450012" y="469871"/>
                    <a:pt x="455735" y="475594"/>
                    <a:pt x="462803" y="475594"/>
                  </a:cubicBezTo>
                  <a:cubicBezTo>
                    <a:pt x="469871" y="475594"/>
                    <a:pt x="475594" y="469871"/>
                    <a:pt x="475594" y="462803"/>
                  </a:cubicBezTo>
                  <a:cubicBezTo>
                    <a:pt x="475594" y="455735"/>
                    <a:pt x="469871" y="450012"/>
                    <a:pt x="462803" y="450012"/>
                  </a:cubicBezTo>
                  <a:moveTo>
                    <a:pt x="462803" y="490939"/>
                  </a:moveTo>
                  <a:cubicBezTo>
                    <a:pt x="455735" y="490939"/>
                    <a:pt x="450012" y="496662"/>
                    <a:pt x="450012" y="503730"/>
                  </a:cubicBezTo>
                  <a:cubicBezTo>
                    <a:pt x="450012" y="510798"/>
                    <a:pt x="455735" y="516521"/>
                    <a:pt x="462803" y="516521"/>
                  </a:cubicBezTo>
                  <a:cubicBezTo>
                    <a:pt x="469871" y="516521"/>
                    <a:pt x="475594" y="510798"/>
                    <a:pt x="475594" y="503730"/>
                  </a:cubicBezTo>
                  <a:cubicBezTo>
                    <a:pt x="475594" y="496662"/>
                    <a:pt x="469871" y="490939"/>
                    <a:pt x="462803" y="490939"/>
                  </a:cubicBezTo>
                  <a:moveTo>
                    <a:pt x="462803" y="531843"/>
                  </a:moveTo>
                  <a:cubicBezTo>
                    <a:pt x="455735" y="531843"/>
                    <a:pt x="450012" y="537566"/>
                    <a:pt x="450012" y="544634"/>
                  </a:cubicBezTo>
                  <a:cubicBezTo>
                    <a:pt x="450012" y="551702"/>
                    <a:pt x="455735" y="557425"/>
                    <a:pt x="462803" y="557425"/>
                  </a:cubicBezTo>
                  <a:cubicBezTo>
                    <a:pt x="469871" y="557425"/>
                    <a:pt x="475594" y="551702"/>
                    <a:pt x="475594" y="544634"/>
                  </a:cubicBezTo>
                  <a:cubicBezTo>
                    <a:pt x="475594" y="537566"/>
                    <a:pt x="469871" y="531843"/>
                    <a:pt x="462803" y="531843"/>
                  </a:cubicBezTo>
                  <a:moveTo>
                    <a:pt x="462803" y="572747"/>
                  </a:moveTo>
                  <a:cubicBezTo>
                    <a:pt x="455735" y="572747"/>
                    <a:pt x="450012" y="578470"/>
                    <a:pt x="450012" y="585538"/>
                  </a:cubicBezTo>
                  <a:cubicBezTo>
                    <a:pt x="450012" y="592606"/>
                    <a:pt x="455735" y="598329"/>
                    <a:pt x="462803" y="598329"/>
                  </a:cubicBezTo>
                  <a:cubicBezTo>
                    <a:pt x="469871" y="598329"/>
                    <a:pt x="475594" y="592606"/>
                    <a:pt x="475594" y="585538"/>
                  </a:cubicBezTo>
                  <a:cubicBezTo>
                    <a:pt x="475594" y="578470"/>
                    <a:pt x="469871" y="572747"/>
                    <a:pt x="462803" y="572747"/>
                  </a:cubicBezTo>
                  <a:moveTo>
                    <a:pt x="462803" y="613674"/>
                  </a:moveTo>
                  <a:cubicBezTo>
                    <a:pt x="455735" y="613674"/>
                    <a:pt x="450012" y="619397"/>
                    <a:pt x="450012" y="626465"/>
                  </a:cubicBezTo>
                  <a:cubicBezTo>
                    <a:pt x="450012" y="633533"/>
                    <a:pt x="455735" y="639256"/>
                    <a:pt x="462803" y="639256"/>
                  </a:cubicBezTo>
                  <a:cubicBezTo>
                    <a:pt x="469871" y="639256"/>
                    <a:pt x="475594" y="633533"/>
                    <a:pt x="475594" y="626465"/>
                  </a:cubicBezTo>
                  <a:cubicBezTo>
                    <a:pt x="475594" y="619397"/>
                    <a:pt x="469871" y="613674"/>
                    <a:pt x="462803" y="613674"/>
                  </a:cubicBezTo>
                  <a:moveTo>
                    <a:pt x="462803" y="654578"/>
                  </a:moveTo>
                  <a:cubicBezTo>
                    <a:pt x="455735" y="654578"/>
                    <a:pt x="450012" y="660301"/>
                    <a:pt x="450012" y="667369"/>
                  </a:cubicBezTo>
                  <a:cubicBezTo>
                    <a:pt x="450012" y="674437"/>
                    <a:pt x="455735" y="680160"/>
                    <a:pt x="462803" y="680160"/>
                  </a:cubicBezTo>
                  <a:cubicBezTo>
                    <a:pt x="469871" y="680160"/>
                    <a:pt x="475594" y="674437"/>
                    <a:pt x="475594" y="667369"/>
                  </a:cubicBezTo>
                  <a:cubicBezTo>
                    <a:pt x="475594" y="660301"/>
                    <a:pt x="469871" y="654578"/>
                    <a:pt x="462803" y="654578"/>
                  </a:cubicBezTo>
                  <a:moveTo>
                    <a:pt x="462803" y="695482"/>
                  </a:moveTo>
                  <a:cubicBezTo>
                    <a:pt x="455735" y="695482"/>
                    <a:pt x="450012" y="701205"/>
                    <a:pt x="450012" y="708273"/>
                  </a:cubicBezTo>
                  <a:cubicBezTo>
                    <a:pt x="450012" y="715341"/>
                    <a:pt x="455735" y="721064"/>
                    <a:pt x="462803" y="721064"/>
                  </a:cubicBezTo>
                  <a:cubicBezTo>
                    <a:pt x="469871" y="721064"/>
                    <a:pt x="475594" y="715341"/>
                    <a:pt x="475594" y="708273"/>
                  </a:cubicBezTo>
                  <a:cubicBezTo>
                    <a:pt x="475594" y="701205"/>
                    <a:pt x="469871" y="695482"/>
                    <a:pt x="462803" y="695482"/>
                  </a:cubicBezTo>
                  <a:moveTo>
                    <a:pt x="462803" y="736386"/>
                  </a:moveTo>
                  <a:cubicBezTo>
                    <a:pt x="455735" y="736386"/>
                    <a:pt x="450012" y="742109"/>
                    <a:pt x="450012" y="749177"/>
                  </a:cubicBezTo>
                  <a:cubicBezTo>
                    <a:pt x="450012" y="756245"/>
                    <a:pt x="455735" y="761968"/>
                    <a:pt x="462803" y="761968"/>
                  </a:cubicBezTo>
                  <a:cubicBezTo>
                    <a:pt x="469871" y="761968"/>
                    <a:pt x="475594" y="756245"/>
                    <a:pt x="475594" y="749177"/>
                  </a:cubicBezTo>
                  <a:cubicBezTo>
                    <a:pt x="475594" y="742109"/>
                    <a:pt x="469871" y="736386"/>
                    <a:pt x="462803" y="736386"/>
                  </a:cubicBezTo>
                  <a:moveTo>
                    <a:pt x="462803" y="777313"/>
                  </a:moveTo>
                  <a:cubicBezTo>
                    <a:pt x="455735" y="777313"/>
                    <a:pt x="450012" y="783035"/>
                    <a:pt x="450012" y="790104"/>
                  </a:cubicBezTo>
                  <a:cubicBezTo>
                    <a:pt x="450012" y="797172"/>
                    <a:pt x="455735" y="802895"/>
                    <a:pt x="462803" y="802895"/>
                  </a:cubicBezTo>
                  <a:cubicBezTo>
                    <a:pt x="469871" y="802895"/>
                    <a:pt x="475594" y="797172"/>
                    <a:pt x="475594" y="790104"/>
                  </a:cubicBezTo>
                  <a:cubicBezTo>
                    <a:pt x="475594" y="783035"/>
                    <a:pt x="469871" y="777313"/>
                    <a:pt x="462803" y="777313"/>
                  </a:cubicBezTo>
                  <a:moveTo>
                    <a:pt x="462803" y="818217"/>
                  </a:moveTo>
                  <a:cubicBezTo>
                    <a:pt x="455735" y="818217"/>
                    <a:pt x="450012" y="823939"/>
                    <a:pt x="450012" y="831008"/>
                  </a:cubicBezTo>
                  <a:cubicBezTo>
                    <a:pt x="450012" y="838076"/>
                    <a:pt x="455735" y="843799"/>
                    <a:pt x="462803" y="843799"/>
                  </a:cubicBezTo>
                  <a:cubicBezTo>
                    <a:pt x="469871" y="843799"/>
                    <a:pt x="475594" y="838076"/>
                    <a:pt x="475594" y="831008"/>
                  </a:cubicBezTo>
                  <a:cubicBezTo>
                    <a:pt x="475594" y="823939"/>
                    <a:pt x="469871" y="818217"/>
                    <a:pt x="462803" y="818217"/>
                  </a:cubicBezTo>
                  <a:moveTo>
                    <a:pt x="462803" y="859121"/>
                  </a:moveTo>
                  <a:cubicBezTo>
                    <a:pt x="455735" y="859121"/>
                    <a:pt x="450012" y="864843"/>
                    <a:pt x="450012" y="871912"/>
                  </a:cubicBezTo>
                  <a:cubicBezTo>
                    <a:pt x="450012" y="878980"/>
                    <a:pt x="455735" y="884703"/>
                    <a:pt x="462803" y="884703"/>
                  </a:cubicBezTo>
                  <a:cubicBezTo>
                    <a:pt x="469871" y="884703"/>
                    <a:pt x="475594" y="878980"/>
                    <a:pt x="475594" y="871912"/>
                  </a:cubicBezTo>
                  <a:cubicBezTo>
                    <a:pt x="475594" y="864843"/>
                    <a:pt x="469871" y="859121"/>
                    <a:pt x="462803" y="859121"/>
                  </a:cubicBezTo>
                  <a:moveTo>
                    <a:pt x="421899" y="0"/>
                  </a:moveTo>
                  <a:cubicBezTo>
                    <a:pt x="414831" y="0"/>
                    <a:pt x="409108" y="5723"/>
                    <a:pt x="409108" y="12791"/>
                  </a:cubicBezTo>
                  <a:cubicBezTo>
                    <a:pt x="409108" y="19859"/>
                    <a:pt x="414831" y="25582"/>
                    <a:pt x="421899" y="25582"/>
                  </a:cubicBezTo>
                  <a:cubicBezTo>
                    <a:pt x="428967" y="25582"/>
                    <a:pt x="434690" y="19859"/>
                    <a:pt x="434690" y="12791"/>
                  </a:cubicBezTo>
                  <a:cubicBezTo>
                    <a:pt x="434690" y="5723"/>
                    <a:pt x="428945" y="0"/>
                    <a:pt x="421899" y="0"/>
                  </a:cubicBezTo>
                  <a:moveTo>
                    <a:pt x="421899" y="40904"/>
                  </a:moveTo>
                  <a:cubicBezTo>
                    <a:pt x="414831" y="40904"/>
                    <a:pt x="409108" y="46627"/>
                    <a:pt x="409108" y="53695"/>
                  </a:cubicBezTo>
                  <a:cubicBezTo>
                    <a:pt x="409108" y="60763"/>
                    <a:pt x="414831" y="66486"/>
                    <a:pt x="421899" y="66486"/>
                  </a:cubicBezTo>
                  <a:cubicBezTo>
                    <a:pt x="428967" y="66486"/>
                    <a:pt x="434690" y="60763"/>
                    <a:pt x="434690" y="53695"/>
                  </a:cubicBezTo>
                  <a:cubicBezTo>
                    <a:pt x="434690" y="46627"/>
                    <a:pt x="428967" y="40904"/>
                    <a:pt x="421899" y="40904"/>
                  </a:cubicBezTo>
                  <a:moveTo>
                    <a:pt x="421899" y="81831"/>
                  </a:moveTo>
                  <a:cubicBezTo>
                    <a:pt x="414831" y="81831"/>
                    <a:pt x="409108" y="87554"/>
                    <a:pt x="409108" y="94622"/>
                  </a:cubicBezTo>
                  <a:cubicBezTo>
                    <a:pt x="409108" y="101690"/>
                    <a:pt x="414831" y="107413"/>
                    <a:pt x="421899" y="107413"/>
                  </a:cubicBezTo>
                  <a:cubicBezTo>
                    <a:pt x="428967" y="107413"/>
                    <a:pt x="434690" y="101690"/>
                    <a:pt x="434690" y="94622"/>
                  </a:cubicBezTo>
                  <a:cubicBezTo>
                    <a:pt x="434690" y="87554"/>
                    <a:pt x="428967" y="81831"/>
                    <a:pt x="421899" y="81831"/>
                  </a:cubicBezTo>
                  <a:moveTo>
                    <a:pt x="421899" y="122735"/>
                  </a:moveTo>
                  <a:cubicBezTo>
                    <a:pt x="414831" y="122735"/>
                    <a:pt x="409108" y="128458"/>
                    <a:pt x="409108" y="135526"/>
                  </a:cubicBezTo>
                  <a:cubicBezTo>
                    <a:pt x="409108" y="142594"/>
                    <a:pt x="414831" y="148317"/>
                    <a:pt x="421899" y="148317"/>
                  </a:cubicBezTo>
                  <a:cubicBezTo>
                    <a:pt x="428967" y="148317"/>
                    <a:pt x="434690" y="142594"/>
                    <a:pt x="434690" y="135526"/>
                  </a:cubicBezTo>
                  <a:cubicBezTo>
                    <a:pt x="434690" y="128458"/>
                    <a:pt x="428967" y="122735"/>
                    <a:pt x="421899" y="122735"/>
                  </a:cubicBezTo>
                  <a:moveTo>
                    <a:pt x="421899" y="163639"/>
                  </a:moveTo>
                  <a:cubicBezTo>
                    <a:pt x="414831" y="163639"/>
                    <a:pt x="409108" y="169362"/>
                    <a:pt x="409108" y="176430"/>
                  </a:cubicBezTo>
                  <a:cubicBezTo>
                    <a:pt x="409108" y="183498"/>
                    <a:pt x="414831" y="189221"/>
                    <a:pt x="421899" y="189221"/>
                  </a:cubicBezTo>
                  <a:cubicBezTo>
                    <a:pt x="428967" y="189221"/>
                    <a:pt x="434690" y="183498"/>
                    <a:pt x="434690" y="176430"/>
                  </a:cubicBezTo>
                  <a:cubicBezTo>
                    <a:pt x="434690" y="169362"/>
                    <a:pt x="428967" y="163639"/>
                    <a:pt x="421899" y="163639"/>
                  </a:cubicBezTo>
                  <a:moveTo>
                    <a:pt x="421899" y="204543"/>
                  </a:moveTo>
                  <a:cubicBezTo>
                    <a:pt x="414831" y="204543"/>
                    <a:pt x="409108" y="210266"/>
                    <a:pt x="409108" y="217334"/>
                  </a:cubicBezTo>
                  <a:cubicBezTo>
                    <a:pt x="409108" y="224402"/>
                    <a:pt x="414831" y="230125"/>
                    <a:pt x="421899" y="230125"/>
                  </a:cubicBezTo>
                  <a:cubicBezTo>
                    <a:pt x="428967" y="230125"/>
                    <a:pt x="434690" y="224402"/>
                    <a:pt x="434690" y="217334"/>
                  </a:cubicBezTo>
                  <a:cubicBezTo>
                    <a:pt x="434690" y="210266"/>
                    <a:pt x="428967" y="204543"/>
                    <a:pt x="421899" y="204543"/>
                  </a:cubicBezTo>
                  <a:moveTo>
                    <a:pt x="421899" y="409108"/>
                  </a:moveTo>
                  <a:cubicBezTo>
                    <a:pt x="414831" y="409108"/>
                    <a:pt x="409108" y="414831"/>
                    <a:pt x="409108" y="421899"/>
                  </a:cubicBezTo>
                  <a:cubicBezTo>
                    <a:pt x="409108" y="428967"/>
                    <a:pt x="414831" y="434690"/>
                    <a:pt x="421899" y="434690"/>
                  </a:cubicBezTo>
                  <a:cubicBezTo>
                    <a:pt x="428967" y="434690"/>
                    <a:pt x="434690" y="428967"/>
                    <a:pt x="434690" y="421899"/>
                  </a:cubicBezTo>
                  <a:cubicBezTo>
                    <a:pt x="434690" y="414831"/>
                    <a:pt x="428967" y="409108"/>
                    <a:pt x="421899" y="409108"/>
                  </a:cubicBezTo>
                  <a:moveTo>
                    <a:pt x="421899" y="450012"/>
                  </a:moveTo>
                  <a:cubicBezTo>
                    <a:pt x="414831" y="450012"/>
                    <a:pt x="409108" y="455735"/>
                    <a:pt x="409108" y="462803"/>
                  </a:cubicBezTo>
                  <a:cubicBezTo>
                    <a:pt x="409108" y="469871"/>
                    <a:pt x="414831" y="475594"/>
                    <a:pt x="421899" y="475594"/>
                  </a:cubicBezTo>
                  <a:cubicBezTo>
                    <a:pt x="428967" y="475594"/>
                    <a:pt x="434690" y="469871"/>
                    <a:pt x="434690" y="462803"/>
                  </a:cubicBezTo>
                  <a:cubicBezTo>
                    <a:pt x="434690" y="455735"/>
                    <a:pt x="428967" y="450012"/>
                    <a:pt x="421899" y="450012"/>
                  </a:cubicBezTo>
                  <a:moveTo>
                    <a:pt x="421899" y="490939"/>
                  </a:moveTo>
                  <a:cubicBezTo>
                    <a:pt x="414831" y="490939"/>
                    <a:pt x="409108" y="496662"/>
                    <a:pt x="409108" y="503730"/>
                  </a:cubicBezTo>
                  <a:cubicBezTo>
                    <a:pt x="409108" y="510798"/>
                    <a:pt x="414831" y="516521"/>
                    <a:pt x="421899" y="516521"/>
                  </a:cubicBezTo>
                  <a:cubicBezTo>
                    <a:pt x="428967" y="516521"/>
                    <a:pt x="434690" y="510798"/>
                    <a:pt x="434690" y="503730"/>
                  </a:cubicBezTo>
                  <a:cubicBezTo>
                    <a:pt x="434690" y="496662"/>
                    <a:pt x="428967" y="490939"/>
                    <a:pt x="421899" y="490939"/>
                  </a:cubicBezTo>
                  <a:moveTo>
                    <a:pt x="421899" y="531843"/>
                  </a:moveTo>
                  <a:cubicBezTo>
                    <a:pt x="414831" y="531843"/>
                    <a:pt x="409108" y="537566"/>
                    <a:pt x="409108" y="544634"/>
                  </a:cubicBezTo>
                  <a:cubicBezTo>
                    <a:pt x="409108" y="551702"/>
                    <a:pt x="414831" y="557425"/>
                    <a:pt x="421899" y="557425"/>
                  </a:cubicBezTo>
                  <a:cubicBezTo>
                    <a:pt x="428967" y="557425"/>
                    <a:pt x="434690" y="551702"/>
                    <a:pt x="434690" y="544634"/>
                  </a:cubicBezTo>
                  <a:cubicBezTo>
                    <a:pt x="434690" y="537566"/>
                    <a:pt x="428967" y="531843"/>
                    <a:pt x="421899" y="531843"/>
                  </a:cubicBezTo>
                  <a:moveTo>
                    <a:pt x="421899" y="572747"/>
                  </a:moveTo>
                  <a:cubicBezTo>
                    <a:pt x="414831" y="572747"/>
                    <a:pt x="409108" y="578470"/>
                    <a:pt x="409108" y="585538"/>
                  </a:cubicBezTo>
                  <a:cubicBezTo>
                    <a:pt x="409108" y="592606"/>
                    <a:pt x="414831" y="598329"/>
                    <a:pt x="421899" y="598329"/>
                  </a:cubicBezTo>
                  <a:cubicBezTo>
                    <a:pt x="428967" y="598329"/>
                    <a:pt x="434690" y="592606"/>
                    <a:pt x="434690" y="585538"/>
                  </a:cubicBezTo>
                  <a:cubicBezTo>
                    <a:pt x="434690" y="578470"/>
                    <a:pt x="428967" y="572747"/>
                    <a:pt x="421899" y="572747"/>
                  </a:cubicBezTo>
                  <a:moveTo>
                    <a:pt x="421899" y="613674"/>
                  </a:moveTo>
                  <a:cubicBezTo>
                    <a:pt x="414831" y="613674"/>
                    <a:pt x="409108" y="619397"/>
                    <a:pt x="409108" y="626465"/>
                  </a:cubicBezTo>
                  <a:cubicBezTo>
                    <a:pt x="409108" y="633533"/>
                    <a:pt x="414831" y="639256"/>
                    <a:pt x="421899" y="639256"/>
                  </a:cubicBezTo>
                  <a:cubicBezTo>
                    <a:pt x="428967" y="639256"/>
                    <a:pt x="434690" y="633533"/>
                    <a:pt x="434690" y="626465"/>
                  </a:cubicBezTo>
                  <a:cubicBezTo>
                    <a:pt x="434690" y="619397"/>
                    <a:pt x="428967" y="613674"/>
                    <a:pt x="421899" y="613674"/>
                  </a:cubicBezTo>
                  <a:moveTo>
                    <a:pt x="421899" y="654578"/>
                  </a:moveTo>
                  <a:cubicBezTo>
                    <a:pt x="414831" y="654578"/>
                    <a:pt x="409108" y="660301"/>
                    <a:pt x="409108" y="667369"/>
                  </a:cubicBezTo>
                  <a:cubicBezTo>
                    <a:pt x="409108" y="674437"/>
                    <a:pt x="414831" y="680160"/>
                    <a:pt x="421899" y="680160"/>
                  </a:cubicBezTo>
                  <a:cubicBezTo>
                    <a:pt x="428967" y="680160"/>
                    <a:pt x="434690" y="674437"/>
                    <a:pt x="434690" y="667369"/>
                  </a:cubicBezTo>
                  <a:cubicBezTo>
                    <a:pt x="434690" y="660301"/>
                    <a:pt x="428967" y="654578"/>
                    <a:pt x="421899" y="654578"/>
                  </a:cubicBezTo>
                  <a:moveTo>
                    <a:pt x="421899" y="695482"/>
                  </a:moveTo>
                  <a:cubicBezTo>
                    <a:pt x="414831" y="695482"/>
                    <a:pt x="409108" y="701205"/>
                    <a:pt x="409108" y="708273"/>
                  </a:cubicBezTo>
                  <a:cubicBezTo>
                    <a:pt x="409108" y="715341"/>
                    <a:pt x="414831" y="721064"/>
                    <a:pt x="421899" y="721064"/>
                  </a:cubicBezTo>
                  <a:cubicBezTo>
                    <a:pt x="428967" y="721064"/>
                    <a:pt x="434690" y="715341"/>
                    <a:pt x="434690" y="708273"/>
                  </a:cubicBezTo>
                  <a:cubicBezTo>
                    <a:pt x="434690" y="701205"/>
                    <a:pt x="428967" y="695482"/>
                    <a:pt x="421899" y="695482"/>
                  </a:cubicBezTo>
                  <a:moveTo>
                    <a:pt x="421899" y="736386"/>
                  </a:moveTo>
                  <a:cubicBezTo>
                    <a:pt x="414831" y="736386"/>
                    <a:pt x="409108" y="742109"/>
                    <a:pt x="409108" y="749177"/>
                  </a:cubicBezTo>
                  <a:cubicBezTo>
                    <a:pt x="409108" y="756245"/>
                    <a:pt x="414831" y="761968"/>
                    <a:pt x="421899" y="761968"/>
                  </a:cubicBezTo>
                  <a:cubicBezTo>
                    <a:pt x="428967" y="761968"/>
                    <a:pt x="434690" y="756245"/>
                    <a:pt x="434690" y="749177"/>
                  </a:cubicBezTo>
                  <a:cubicBezTo>
                    <a:pt x="434690" y="742109"/>
                    <a:pt x="428967" y="736386"/>
                    <a:pt x="421899" y="736386"/>
                  </a:cubicBezTo>
                  <a:moveTo>
                    <a:pt x="421899" y="777313"/>
                  </a:moveTo>
                  <a:cubicBezTo>
                    <a:pt x="414831" y="777313"/>
                    <a:pt x="409108" y="783035"/>
                    <a:pt x="409108" y="790104"/>
                  </a:cubicBezTo>
                  <a:cubicBezTo>
                    <a:pt x="409108" y="797172"/>
                    <a:pt x="414831" y="802895"/>
                    <a:pt x="421899" y="802895"/>
                  </a:cubicBezTo>
                  <a:cubicBezTo>
                    <a:pt x="428967" y="802895"/>
                    <a:pt x="434690" y="797172"/>
                    <a:pt x="434690" y="790104"/>
                  </a:cubicBezTo>
                  <a:cubicBezTo>
                    <a:pt x="434690" y="783035"/>
                    <a:pt x="428967" y="777313"/>
                    <a:pt x="421899" y="777313"/>
                  </a:cubicBezTo>
                  <a:moveTo>
                    <a:pt x="421899" y="818217"/>
                  </a:moveTo>
                  <a:cubicBezTo>
                    <a:pt x="414831" y="818217"/>
                    <a:pt x="409108" y="823939"/>
                    <a:pt x="409108" y="831008"/>
                  </a:cubicBezTo>
                  <a:cubicBezTo>
                    <a:pt x="409108" y="838076"/>
                    <a:pt x="414831" y="843799"/>
                    <a:pt x="421899" y="843799"/>
                  </a:cubicBezTo>
                  <a:cubicBezTo>
                    <a:pt x="428967" y="843799"/>
                    <a:pt x="434690" y="838076"/>
                    <a:pt x="434690" y="831008"/>
                  </a:cubicBezTo>
                  <a:cubicBezTo>
                    <a:pt x="434690" y="823939"/>
                    <a:pt x="428967" y="818217"/>
                    <a:pt x="421899" y="818217"/>
                  </a:cubicBezTo>
                  <a:moveTo>
                    <a:pt x="421899" y="859121"/>
                  </a:moveTo>
                  <a:cubicBezTo>
                    <a:pt x="414831" y="859121"/>
                    <a:pt x="409108" y="864843"/>
                    <a:pt x="409108" y="871912"/>
                  </a:cubicBezTo>
                  <a:cubicBezTo>
                    <a:pt x="409108" y="878980"/>
                    <a:pt x="414831" y="884703"/>
                    <a:pt x="421899" y="884703"/>
                  </a:cubicBezTo>
                  <a:cubicBezTo>
                    <a:pt x="428967" y="884703"/>
                    <a:pt x="434690" y="878980"/>
                    <a:pt x="434690" y="871912"/>
                  </a:cubicBezTo>
                  <a:cubicBezTo>
                    <a:pt x="434690" y="864843"/>
                    <a:pt x="428967" y="859121"/>
                    <a:pt x="421899" y="859121"/>
                  </a:cubicBezTo>
                  <a:moveTo>
                    <a:pt x="380972" y="0"/>
                  </a:moveTo>
                  <a:cubicBezTo>
                    <a:pt x="373904" y="0"/>
                    <a:pt x="368181" y="5723"/>
                    <a:pt x="368181" y="12791"/>
                  </a:cubicBezTo>
                  <a:cubicBezTo>
                    <a:pt x="368181" y="19859"/>
                    <a:pt x="373904" y="25582"/>
                    <a:pt x="380972" y="25582"/>
                  </a:cubicBezTo>
                  <a:cubicBezTo>
                    <a:pt x="388041" y="25582"/>
                    <a:pt x="393763" y="19859"/>
                    <a:pt x="393763" y="12791"/>
                  </a:cubicBezTo>
                  <a:cubicBezTo>
                    <a:pt x="393763" y="5723"/>
                    <a:pt x="388041" y="0"/>
                    <a:pt x="380972" y="0"/>
                  </a:cubicBezTo>
                  <a:moveTo>
                    <a:pt x="380972" y="40904"/>
                  </a:moveTo>
                  <a:cubicBezTo>
                    <a:pt x="373904" y="40904"/>
                    <a:pt x="368181" y="46627"/>
                    <a:pt x="368181" y="53695"/>
                  </a:cubicBezTo>
                  <a:cubicBezTo>
                    <a:pt x="368181" y="60763"/>
                    <a:pt x="373904" y="66486"/>
                    <a:pt x="380972" y="66486"/>
                  </a:cubicBezTo>
                  <a:cubicBezTo>
                    <a:pt x="388041" y="66486"/>
                    <a:pt x="393763" y="60763"/>
                    <a:pt x="393763" y="53695"/>
                  </a:cubicBezTo>
                  <a:cubicBezTo>
                    <a:pt x="393763" y="46627"/>
                    <a:pt x="388041" y="40904"/>
                    <a:pt x="380972" y="40904"/>
                  </a:cubicBezTo>
                  <a:moveTo>
                    <a:pt x="380972" y="81831"/>
                  </a:moveTo>
                  <a:cubicBezTo>
                    <a:pt x="373904" y="81831"/>
                    <a:pt x="368181" y="87554"/>
                    <a:pt x="368181" y="94622"/>
                  </a:cubicBezTo>
                  <a:cubicBezTo>
                    <a:pt x="368181" y="101690"/>
                    <a:pt x="373904" y="107413"/>
                    <a:pt x="380972" y="107413"/>
                  </a:cubicBezTo>
                  <a:cubicBezTo>
                    <a:pt x="388041" y="107413"/>
                    <a:pt x="393763" y="101690"/>
                    <a:pt x="393763" y="94622"/>
                  </a:cubicBezTo>
                  <a:cubicBezTo>
                    <a:pt x="393763" y="87554"/>
                    <a:pt x="388041" y="81831"/>
                    <a:pt x="380972" y="81831"/>
                  </a:cubicBezTo>
                  <a:moveTo>
                    <a:pt x="380972" y="122735"/>
                  </a:moveTo>
                  <a:cubicBezTo>
                    <a:pt x="373904" y="122735"/>
                    <a:pt x="368181" y="128458"/>
                    <a:pt x="368181" y="135526"/>
                  </a:cubicBezTo>
                  <a:cubicBezTo>
                    <a:pt x="368181" y="142594"/>
                    <a:pt x="373904" y="148317"/>
                    <a:pt x="380972" y="148317"/>
                  </a:cubicBezTo>
                  <a:cubicBezTo>
                    <a:pt x="388041" y="148317"/>
                    <a:pt x="393763" y="142594"/>
                    <a:pt x="393763" y="135526"/>
                  </a:cubicBezTo>
                  <a:cubicBezTo>
                    <a:pt x="393763" y="128458"/>
                    <a:pt x="388041" y="122735"/>
                    <a:pt x="380972" y="122735"/>
                  </a:cubicBezTo>
                  <a:moveTo>
                    <a:pt x="380972" y="163639"/>
                  </a:moveTo>
                  <a:cubicBezTo>
                    <a:pt x="373904" y="163639"/>
                    <a:pt x="368181" y="169362"/>
                    <a:pt x="368181" y="176430"/>
                  </a:cubicBezTo>
                  <a:cubicBezTo>
                    <a:pt x="368181" y="183498"/>
                    <a:pt x="373904" y="189221"/>
                    <a:pt x="380972" y="189221"/>
                  </a:cubicBezTo>
                  <a:cubicBezTo>
                    <a:pt x="388041" y="189221"/>
                    <a:pt x="393763" y="183498"/>
                    <a:pt x="393763" y="176430"/>
                  </a:cubicBezTo>
                  <a:cubicBezTo>
                    <a:pt x="393763" y="169362"/>
                    <a:pt x="388041" y="163639"/>
                    <a:pt x="380972" y="163639"/>
                  </a:cubicBezTo>
                  <a:moveTo>
                    <a:pt x="380972" y="204543"/>
                  </a:moveTo>
                  <a:cubicBezTo>
                    <a:pt x="373904" y="204543"/>
                    <a:pt x="368181" y="210266"/>
                    <a:pt x="368181" y="217334"/>
                  </a:cubicBezTo>
                  <a:cubicBezTo>
                    <a:pt x="368181" y="224402"/>
                    <a:pt x="373904" y="230125"/>
                    <a:pt x="380972" y="230125"/>
                  </a:cubicBezTo>
                  <a:cubicBezTo>
                    <a:pt x="388041" y="230125"/>
                    <a:pt x="393763" y="224402"/>
                    <a:pt x="393763" y="217334"/>
                  </a:cubicBezTo>
                  <a:cubicBezTo>
                    <a:pt x="393763" y="210266"/>
                    <a:pt x="388041" y="204543"/>
                    <a:pt x="380972" y="204543"/>
                  </a:cubicBezTo>
                  <a:moveTo>
                    <a:pt x="380972" y="245470"/>
                  </a:moveTo>
                  <a:cubicBezTo>
                    <a:pt x="373904" y="245470"/>
                    <a:pt x="368181" y="251192"/>
                    <a:pt x="368181" y="258261"/>
                  </a:cubicBezTo>
                  <a:cubicBezTo>
                    <a:pt x="368181" y="265329"/>
                    <a:pt x="373904" y="271052"/>
                    <a:pt x="380972" y="271052"/>
                  </a:cubicBezTo>
                  <a:cubicBezTo>
                    <a:pt x="388041" y="271052"/>
                    <a:pt x="393763" y="265329"/>
                    <a:pt x="393763" y="258261"/>
                  </a:cubicBezTo>
                  <a:cubicBezTo>
                    <a:pt x="393763" y="251192"/>
                    <a:pt x="388041" y="245470"/>
                    <a:pt x="380972" y="245470"/>
                  </a:cubicBezTo>
                  <a:moveTo>
                    <a:pt x="380972" y="409108"/>
                  </a:moveTo>
                  <a:cubicBezTo>
                    <a:pt x="373904" y="409108"/>
                    <a:pt x="368181" y="414831"/>
                    <a:pt x="368181" y="421899"/>
                  </a:cubicBezTo>
                  <a:cubicBezTo>
                    <a:pt x="368181" y="428967"/>
                    <a:pt x="373904" y="434690"/>
                    <a:pt x="380972" y="434690"/>
                  </a:cubicBezTo>
                  <a:cubicBezTo>
                    <a:pt x="388041" y="434690"/>
                    <a:pt x="393763" y="428967"/>
                    <a:pt x="393763" y="421899"/>
                  </a:cubicBezTo>
                  <a:cubicBezTo>
                    <a:pt x="393763" y="414831"/>
                    <a:pt x="388041" y="409108"/>
                    <a:pt x="380972" y="409108"/>
                  </a:cubicBezTo>
                  <a:moveTo>
                    <a:pt x="380972" y="450012"/>
                  </a:moveTo>
                  <a:cubicBezTo>
                    <a:pt x="373904" y="450012"/>
                    <a:pt x="368181" y="455735"/>
                    <a:pt x="368181" y="462803"/>
                  </a:cubicBezTo>
                  <a:cubicBezTo>
                    <a:pt x="368181" y="469871"/>
                    <a:pt x="373904" y="475594"/>
                    <a:pt x="380972" y="475594"/>
                  </a:cubicBezTo>
                  <a:cubicBezTo>
                    <a:pt x="388041" y="475594"/>
                    <a:pt x="393763" y="469871"/>
                    <a:pt x="393763" y="462803"/>
                  </a:cubicBezTo>
                  <a:cubicBezTo>
                    <a:pt x="393763" y="455735"/>
                    <a:pt x="388041" y="450012"/>
                    <a:pt x="380972" y="450012"/>
                  </a:cubicBezTo>
                  <a:moveTo>
                    <a:pt x="380972" y="490939"/>
                  </a:moveTo>
                  <a:cubicBezTo>
                    <a:pt x="373904" y="490939"/>
                    <a:pt x="368181" y="496662"/>
                    <a:pt x="368181" y="503730"/>
                  </a:cubicBezTo>
                  <a:cubicBezTo>
                    <a:pt x="368181" y="510798"/>
                    <a:pt x="373904" y="516521"/>
                    <a:pt x="380972" y="516521"/>
                  </a:cubicBezTo>
                  <a:cubicBezTo>
                    <a:pt x="388041" y="516521"/>
                    <a:pt x="393763" y="510798"/>
                    <a:pt x="393763" y="503730"/>
                  </a:cubicBezTo>
                  <a:cubicBezTo>
                    <a:pt x="393763" y="496662"/>
                    <a:pt x="388041" y="490939"/>
                    <a:pt x="380972" y="490939"/>
                  </a:cubicBezTo>
                  <a:moveTo>
                    <a:pt x="380972" y="531843"/>
                  </a:moveTo>
                  <a:cubicBezTo>
                    <a:pt x="373904" y="531843"/>
                    <a:pt x="368181" y="537566"/>
                    <a:pt x="368181" y="544634"/>
                  </a:cubicBezTo>
                  <a:cubicBezTo>
                    <a:pt x="368181" y="551702"/>
                    <a:pt x="373904" y="557425"/>
                    <a:pt x="380972" y="557425"/>
                  </a:cubicBezTo>
                  <a:cubicBezTo>
                    <a:pt x="388041" y="557425"/>
                    <a:pt x="393763" y="551702"/>
                    <a:pt x="393763" y="544634"/>
                  </a:cubicBezTo>
                  <a:cubicBezTo>
                    <a:pt x="393763" y="537566"/>
                    <a:pt x="388041" y="531843"/>
                    <a:pt x="380972" y="531843"/>
                  </a:cubicBezTo>
                  <a:moveTo>
                    <a:pt x="380972" y="572747"/>
                  </a:moveTo>
                  <a:cubicBezTo>
                    <a:pt x="373904" y="572747"/>
                    <a:pt x="368181" y="578470"/>
                    <a:pt x="368181" y="585538"/>
                  </a:cubicBezTo>
                  <a:cubicBezTo>
                    <a:pt x="368181" y="592606"/>
                    <a:pt x="373904" y="598329"/>
                    <a:pt x="380972" y="598329"/>
                  </a:cubicBezTo>
                  <a:cubicBezTo>
                    <a:pt x="388041" y="598329"/>
                    <a:pt x="393763" y="592606"/>
                    <a:pt x="393763" y="585538"/>
                  </a:cubicBezTo>
                  <a:cubicBezTo>
                    <a:pt x="393763" y="578470"/>
                    <a:pt x="388041" y="572747"/>
                    <a:pt x="380972" y="572747"/>
                  </a:cubicBezTo>
                  <a:moveTo>
                    <a:pt x="380972" y="613674"/>
                  </a:moveTo>
                  <a:cubicBezTo>
                    <a:pt x="373904" y="613674"/>
                    <a:pt x="368181" y="619397"/>
                    <a:pt x="368181" y="626465"/>
                  </a:cubicBezTo>
                  <a:cubicBezTo>
                    <a:pt x="368181" y="633533"/>
                    <a:pt x="373904" y="639256"/>
                    <a:pt x="380972" y="639256"/>
                  </a:cubicBezTo>
                  <a:cubicBezTo>
                    <a:pt x="388041" y="639256"/>
                    <a:pt x="393763" y="633533"/>
                    <a:pt x="393763" y="626465"/>
                  </a:cubicBezTo>
                  <a:cubicBezTo>
                    <a:pt x="393763" y="619397"/>
                    <a:pt x="388041" y="613674"/>
                    <a:pt x="380972" y="613674"/>
                  </a:cubicBezTo>
                  <a:moveTo>
                    <a:pt x="380972" y="654578"/>
                  </a:moveTo>
                  <a:cubicBezTo>
                    <a:pt x="373904" y="654578"/>
                    <a:pt x="368181" y="660301"/>
                    <a:pt x="368181" y="667369"/>
                  </a:cubicBezTo>
                  <a:cubicBezTo>
                    <a:pt x="368181" y="674437"/>
                    <a:pt x="373904" y="680160"/>
                    <a:pt x="380972" y="680160"/>
                  </a:cubicBezTo>
                  <a:cubicBezTo>
                    <a:pt x="388041" y="680160"/>
                    <a:pt x="393763" y="674437"/>
                    <a:pt x="393763" y="667369"/>
                  </a:cubicBezTo>
                  <a:cubicBezTo>
                    <a:pt x="393763" y="660301"/>
                    <a:pt x="388041" y="654578"/>
                    <a:pt x="380972" y="654578"/>
                  </a:cubicBezTo>
                  <a:moveTo>
                    <a:pt x="380972" y="695482"/>
                  </a:moveTo>
                  <a:cubicBezTo>
                    <a:pt x="373904" y="695482"/>
                    <a:pt x="368181" y="701205"/>
                    <a:pt x="368181" y="708273"/>
                  </a:cubicBezTo>
                  <a:cubicBezTo>
                    <a:pt x="368181" y="715341"/>
                    <a:pt x="373904" y="721064"/>
                    <a:pt x="380972" y="721064"/>
                  </a:cubicBezTo>
                  <a:cubicBezTo>
                    <a:pt x="388041" y="721064"/>
                    <a:pt x="393763" y="715341"/>
                    <a:pt x="393763" y="708273"/>
                  </a:cubicBezTo>
                  <a:cubicBezTo>
                    <a:pt x="393763" y="701205"/>
                    <a:pt x="388041" y="695482"/>
                    <a:pt x="380972" y="695482"/>
                  </a:cubicBezTo>
                  <a:moveTo>
                    <a:pt x="380972" y="736386"/>
                  </a:moveTo>
                  <a:cubicBezTo>
                    <a:pt x="373904" y="736386"/>
                    <a:pt x="368181" y="742109"/>
                    <a:pt x="368181" y="749177"/>
                  </a:cubicBezTo>
                  <a:cubicBezTo>
                    <a:pt x="368181" y="756245"/>
                    <a:pt x="373904" y="761968"/>
                    <a:pt x="380972" y="761968"/>
                  </a:cubicBezTo>
                  <a:cubicBezTo>
                    <a:pt x="388041" y="761968"/>
                    <a:pt x="393763" y="756245"/>
                    <a:pt x="393763" y="749177"/>
                  </a:cubicBezTo>
                  <a:cubicBezTo>
                    <a:pt x="393763" y="742109"/>
                    <a:pt x="388041" y="736386"/>
                    <a:pt x="380972" y="736386"/>
                  </a:cubicBezTo>
                  <a:moveTo>
                    <a:pt x="380972" y="777313"/>
                  </a:moveTo>
                  <a:cubicBezTo>
                    <a:pt x="373904" y="777313"/>
                    <a:pt x="368181" y="783035"/>
                    <a:pt x="368181" y="790104"/>
                  </a:cubicBezTo>
                  <a:cubicBezTo>
                    <a:pt x="368181" y="797172"/>
                    <a:pt x="373904" y="802895"/>
                    <a:pt x="380972" y="802895"/>
                  </a:cubicBezTo>
                  <a:cubicBezTo>
                    <a:pt x="388041" y="802895"/>
                    <a:pt x="393763" y="797172"/>
                    <a:pt x="393763" y="790104"/>
                  </a:cubicBezTo>
                  <a:cubicBezTo>
                    <a:pt x="393763" y="783035"/>
                    <a:pt x="388041" y="777313"/>
                    <a:pt x="380972" y="777313"/>
                  </a:cubicBezTo>
                  <a:moveTo>
                    <a:pt x="380972" y="818217"/>
                  </a:moveTo>
                  <a:cubicBezTo>
                    <a:pt x="373904" y="818217"/>
                    <a:pt x="368181" y="823939"/>
                    <a:pt x="368181" y="831008"/>
                  </a:cubicBezTo>
                  <a:cubicBezTo>
                    <a:pt x="368181" y="838076"/>
                    <a:pt x="373904" y="843799"/>
                    <a:pt x="380972" y="843799"/>
                  </a:cubicBezTo>
                  <a:cubicBezTo>
                    <a:pt x="388041" y="843799"/>
                    <a:pt x="393763" y="838076"/>
                    <a:pt x="393763" y="831008"/>
                  </a:cubicBezTo>
                  <a:cubicBezTo>
                    <a:pt x="393763" y="823939"/>
                    <a:pt x="388041" y="818217"/>
                    <a:pt x="380972" y="818217"/>
                  </a:cubicBezTo>
                  <a:moveTo>
                    <a:pt x="380972" y="859121"/>
                  </a:moveTo>
                  <a:cubicBezTo>
                    <a:pt x="373904" y="859121"/>
                    <a:pt x="368181" y="864843"/>
                    <a:pt x="368181" y="871912"/>
                  </a:cubicBezTo>
                  <a:cubicBezTo>
                    <a:pt x="368181" y="878980"/>
                    <a:pt x="373904" y="884703"/>
                    <a:pt x="380972" y="884703"/>
                  </a:cubicBezTo>
                  <a:cubicBezTo>
                    <a:pt x="388041" y="884703"/>
                    <a:pt x="393763" y="878980"/>
                    <a:pt x="393763" y="871912"/>
                  </a:cubicBezTo>
                  <a:cubicBezTo>
                    <a:pt x="393763" y="864843"/>
                    <a:pt x="388041" y="859121"/>
                    <a:pt x="380972" y="859121"/>
                  </a:cubicBezTo>
                  <a:moveTo>
                    <a:pt x="340068" y="0"/>
                  </a:moveTo>
                  <a:cubicBezTo>
                    <a:pt x="333000" y="0"/>
                    <a:pt x="327277" y="5723"/>
                    <a:pt x="327277" y="12791"/>
                  </a:cubicBezTo>
                  <a:cubicBezTo>
                    <a:pt x="327277" y="19859"/>
                    <a:pt x="333000" y="25582"/>
                    <a:pt x="340068" y="25582"/>
                  </a:cubicBezTo>
                  <a:cubicBezTo>
                    <a:pt x="347137" y="25582"/>
                    <a:pt x="352859" y="19859"/>
                    <a:pt x="352859" y="12791"/>
                  </a:cubicBezTo>
                  <a:cubicBezTo>
                    <a:pt x="352859" y="5723"/>
                    <a:pt x="347137" y="0"/>
                    <a:pt x="340068" y="0"/>
                  </a:cubicBezTo>
                  <a:moveTo>
                    <a:pt x="340068" y="40904"/>
                  </a:moveTo>
                  <a:cubicBezTo>
                    <a:pt x="333000" y="40904"/>
                    <a:pt x="327277" y="46627"/>
                    <a:pt x="327277" y="53695"/>
                  </a:cubicBezTo>
                  <a:cubicBezTo>
                    <a:pt x="327277" y="60763"/>
                    <a:pt x="333000" y="66486"/>
                    <a:pt x="340068" y="66486"/>
                  </a:cubicBezTo>
                  <a:cubicBezTo>
                    <a:pt x="347137" y="66486"/>
                    <a:pt x="352859" y="60763"/>
                    <a:pt x="352859" y="53695"/>
                  </a:cubicBezTo>
                  <a:cubicBezTo>
                    <a:pt x="352859" y="46627"/>
                    <a:pt x="347137" y="40904"/>
                    <a:pt x="340068" y="40904"/>
                  </a:cubicBezTo>
                  <a:moveTo>
                    <a:pt x="340068" y="81831"/>
                  </a:moveTo>
                  <a:cubicBezTo>
                    <a:pt x="333000" y="81831"/>
                    <a:pt x="327277" y="87554"/>
                    <a:pt x="327277" y="94622"/>
                  </a:cubicBezTo>
                  <a:cubicBezTo>
                    <a:pt x="327277" y="101690"/>
                    <a:pt x="333000" y="107413"/>
                    <a:pt x="340068" y="107413"/>
                  </a:cubicBezTo>
                  <a:cubicBezTo>
                    <a:pt x="347137" y="107413"/>
                    <a:pt x="352859" y="101690"/>
                    <a:pt x="352859" y="94622"/>
                  </a:cubicBezTo>
                  <a:cubicBezTo>
                    <a:pt x="352859" y="87554"/>
                    <a:pt x="347137" y="81831"/>
                    <a:pt x="340068" y="81831"/>
                  </a:cubicBezTo>
                  <a:moveTo>
                    <a:pt x="340068" y="122735"/>
                  </a:moveTo>
                  <a:cubicBezTo>
                    <a:pt x="333000" y="122735"/>
                    <a:pt x="327277" y="128458"/>
                    <a:pt x="327277" y="135526"/>
                  </a:cubicBezTo>
                  <a:cubicBezTo>
                    <a:pt x="327277" y="142594"/>
                    <a:pt x="333000" y="148317"/>
                    <a:pt x="340068" y="148317"/>
                  </a:cubicBezTo>
                  <a:cubicBezTo>
                    <a:pt x="347137" y="148317"/>
                    <a:pt x="352859" y="142594"/>
                    <a:pt x="352859" y="135526"/>
                  </a:cubicBezTo>
                  <a:cubicBezTo>
                    <a:pt x="352859" y="128458"/>
                    <a:pt x="347137" y="122735"/>
                    <a:pt x="340068" y="122735"/>
                  </a:cubicBezTo>
                  <a:moveTo>
                    <a:pt x="340068" y="163639"/>
                  </a:moveTo>
                  <a:cubicBezTo>
                    <a:pt x="333000" y="163639"/>
                    <a:pt x="327277" y="169362"/>
                    <a:pt x="327277" y="176430"/>
                  </a:cubicBezTo>
                  <a:cubicBezTo>
                    <a:pt x="327277" y="183498"/>
                    <a:pt x="333000" y="189221"/>
                    <a:pt x="340068" y="189221"/>
                  </a:cubicBezTo>
                  <a:cubicBezTo>
                    <a:pt x="347137" y="189221"/>
                    <a:pt x="352859" y="183498"/>
                    <a:pt x="352859" y="176430"/>
                  </a:cubicBezTo>
                  <a:cubicBezTo>
                    <a:pt x="352859" y="169362"/>
                    <a:pt x="347137" y="163639"/>
                    <a:pt x="340068" y="163639"/>
                  </a:cubicBezTo>
                  <a:moveTo>
                    <a:pt x="340068" y="204543"/>
                  </a:moveTo>
                  <a:cubicBezTo>
                    <a:pt x="333000" y="204543"/>
                    <a:pt x="327277" y="210266"/>
                    <a:pt x="327277" y="217334"/>
                  </a:cubicBezTo>
                  <a:cubicBezTo>
                    <a:pt x="327277" y="224402"/>
                    <a:pt x="333000" y="230125"/>
                    <a:pt x="340068" y="230125"/>
                  </a:cubicBezTo>
                  <a:cubicBezTo>
                    <a:pt x="347137" y="230125"/>
                    <a:pt x="352859" y="224402"/>
                    <a:pt x="352859" y="217334"/>
                  </a:cubicBezTo>
                  <a:cubicBezTo>
                    <a:pt x="352859" y="210266"/>
                    <a:pt x="347137" y="204543"/>
                    <a:pt x="340068" y="204543"/>
                  </a:cubicBezTo>
                  <a:moveTo>
                    <a:pt x="340068" y="245470"/>
                  </a:moveTo>
                  <a:cubicBezTo>
                    <a:pt x="333000" y="245470"/>
                    <a:pt x="327277" y="251192"/>
                    <a:pt x="327277" y="258261"/>
                  </a:cubicBezTo>
                  <a:cubicBezTo>
                    <a:pt x="327277" y="265329"/>
                    <a:pt x="333000" y="271052"/>
                    <a:pt x="340068" y="271052"/>
                  </a:cubicBezTo>
                  <a:cubicBezTo>
                    <a:pt x="347137" y="271052"/>
                    <a:pt x="352859" y="265329"/>
                    <a:pt x="352859" y="258261"/>
                  </a:cubicBezTo>
                  <a:cubicBezTo>
                    <a:pt x="352859" y="251192"/>
                    <a:pt x="347137" y="245470"/>
                    <a:pt x="340068" y="245470"/>
                  </a:cubicBezTo>
                  <a:moveTo>
                    <a:pt x="340068" y="286374"/>
                  </a:moveTo>
                  <a:cubicBezTo>
                    <a:pt x="333000" y="286374"/>
                    <a:pt x="327277" y="292096"/>
                    <a:pt x="327277" y="299165"/>
                  </a:cubicBezTo>
                  <a:cubicBezTo>
                    <a:pt x="327277" y="306233"/>
                    <a:pt x="333000" y="311956"/>
                    <a:pt x="340068" y="311956"/>
                  </a:cubicBezTo>
                  <a:cubicBezTo>
                    <a:pt x="347137" y="311956"/>
                    <a:pt x="352859" y="306233"/>
                    <a:pt x="352859" y="299165"/>
                  </a:cubicBezTo>
                  <a:cubicBezTo>
                    <a:pt x="352859" y="292096"/>
                    <a:pt x="347137" y="286374"/>
                    <a:pt x="340068" y="286374"/>
                  </a:cubicBezTo>
                  <a:moveTo>
                    <a:pt x="340068" y="409108"/>
                  </a:moveTo>
                  <a:cubicBezTo>
                    <a:pt x="333000" y="409108"/>
                    <a:pt x="327277" y="414831"/>
                    <a:pt x="327277" y="421899"/>
                  </a:cubicBezTo>
                  <a:cubicBezTo>
                    <a:pt x="327277" y="428967"/>
                    <a:pt x="333000" y="434690"/>
                    <a:pt x="340068" y="434690"/>
                  </a:cubicBezTo>
                  <a:cubicBezTo>
                    <a:pt x="347137" y="434690"/>
                    <a:pt x="352859" y="428967"/>
                    <a:pt x="352859" y="421899"/>
                  </a:cubicBezTo>
                  <a:cubicBezTo>
                    <a:pt x="352859" y="414831"/>
                    <a:pt x="347137" y="409108"/>
                    <a:pt x="340068" y="409108"/>
                  </a:cubicBezTo>
                  <a:moveTo>
                    <a:pt x="340068" y="450012"/>
                  </a:moveTo>
                  <a:cubicBezTo>
                    <a:pt x="333000" y="450012"/>
                    <a:pt x="327277" y="455735"/>
                    <a:pt x="327277" y="462803"/>
                  </a:cubicBezTo>
                  <a:cubicBezTo>
                    <a:pt x="327277" y="469871"/>
                    <a:pt x="333000" y="475594"/>
                    <a:pt x="340068" y="475594"/>
                  </a:cubicBezTo>
                  <a:cubicBezTo>
                    <a:pt x="347137" y="475594"/>
                    <a:pt x="352859" y="469871"/>
                    <a:pt x="352859" y="462803"/>
                  </a:cubicBezTo>
                  <a:cubicBezTo>
                    <a:pt x="352859" y="455735"/>
                    <a:pt x="347137" y="450012"/>
                    <a:pt x="340068" y="450012"/>
                  </a:cubicBezTo>
                  <a:moveTo>
                    <a:pt x="340068" y="490939"/>
                  </a:moveTo>
                  <a:cubicBezTo>
                    <a:pt x="333000" y="490939"/>
                    <a:pt x="327277" y="496662"/>
                    <a:pt x="327277" y="503730"/>
                  </a:cubicBezTo>
                  <a:cubicBezTo>
                    <a:pt x="327277" y="510798"/>
                    <a:pt x="333000" y="516521"/>
                    <a:pt x="340068" y="516521"/>
                  </a:cubicBezTo>
                  <a:cubicBezTo>
                    <a:pt x="347137" y="516521"/>
                    <a:pt x="352859" y="510798"/>
                    <a:pt x="352859" y="503730"/>
                  </a:cubicBezTo>
                  <a:cubicBezTo>
                    <a:pt x="352859" y="496662"/>
                    <a:pt x="347137" y="490939"/>
                    <a:pt x="340068" y="490939"/>
                  </a:cubicBezTo>
                  <a:moveTo>
                    <a:pt x="340068" y="531843"/>
                  </a:moveTo>
                  <a:cubicBezTo>
                    <a:pt x="333000" y="531843"/>
                    <a:pt x="327277" y="537566"/>
                    <a:pt x="327277" y="544634"/>
                  </a:cubicBezTo>
                  <a:cubicBezTo>
                    <a:pt x="327277" y="551702"/>
                    <a:pt x="333000" y="557425"/>
                    <a:pt x="340068" y="557425"/>
                  </a:cubicBezTo>
                  <a:cubicBezTo>
                    <a:pt x="347137" y="557425"/>
                    <a:pt x="352859" y="551702"/>
                    <a:pt x="352859" y="544634"/>
                  </a:cubicBezTo>
                  <a:cubicBezTo>
                    <a:pt x="352859" y="537566"/>
                    <a:pt x="347137" y="531843"/>
                    <a:pt x="340068" y="531843"/>
                  </a:cubicBezTo>
                  <a:moveTo>
                    <a:pt x="340068" y="572747"/>
                  </a:moveTo>
                  <a:cubicBezTo>
                    <a:pt x="333000" y="572747"/>
                    <a:pt x="327277" y="578470"/>
                    <a:pt x="327277" y="585538"/>
                  </a:cubicBezTo>
                  <a:cubicBezTo>
                    <a:pt x="327277" y="592606"/>
                    <a:pt x="333000" y="598329"/>
                    <a:pt x="340068" y="598329"/>
                  </a:cubicBezTo>
                  <a:cubicBezTo>
                    <a:pt x="347137" y="598329"/>
                    <a:pt x="352859" y="592606"/>
                    <a:pt x="352859" y="585538"/>
                  </a:cubicBezTo>
                  <a:cubicBezTo>
                    <a:pt x="352859" y="578470"/>
                    <a:pt x="347137" y="572747"/>
                    <a:pt x="340068" y="572747"/>
                  </a:cubicBezTo>
                  <a:moveTo>
                    <a:pt x="340068" y="613674"/>
                  </a:moveTo>
                  <a:cubicBezTo>
                    <a:pt x="333000" y="613674"/>
                    <a:pt x="327277" y="619397"/>
                    <a:pt x="327277" y="626465"/>
                  </a:cubicBezTo>
                  <a:cubicBezTo>
                    <a:pt x="327277" y="633533"/>
                    <a:pt x="333000" y="639256"/>
                    <a:pt x="340068" y="639256"/>
                  </a:cubicBezTo>
                  <a:cubicBezTo>
                    <a:pt x="347137" y="639256"/>
                    <a:pt x="352859" y="633533"/>
                    <a:pt x="352859" y="626465"/>
                  </a:cubicBezTo>
                  <a:cubicBezTo>
                    <a:pt x="352859" y="619397"/>
                    <a:pt x="347137" y="613674"/>
                    <a:pt x="340068" y="613674"/>
                  </a:cubicBezTo>
                  <a:moveTo>
                    <a:pt x="340068" y="654578"/>
                  </a:moveTo>
                  <a:cubicBezTo>
                    <a:pt x="333000" y="654578"/>
                    <a:pt x="327277" y="660301"/>
                    <a:pt x="327277" y="667369"/>
                  </a:cubicBezTo>
                  <a:cubicBezTo>
                    <a:pt x="327277" y="674437"/>
                    <a:pt x="333000" y="680160"/>
                    <a:pt x="340068" y="680160"/>
                  </a:cubicBezTo>
                  <a:cubicBezTo>
                    <a:pt x="347137" y="680160"/>
                    <a:pt x="352859" y="674437"/>
                    <a:pt x="352859" y="667369"/>
                  </a:cubicBezTo>
                  <a:cubicBezTo>
                    <a:pt x="352859" y="660301"/>
                    <a:pt x="347137" y="654578"/>
                    <a:pt x="340068" y="654578"/>
                  </a:cubicBezTo>
                  <a:moveTo>
                    <a:pt x="340068" y="695482"/>
                  </a:moveTo>
                  <a:cubicBezTo>
                    <a:pt x="333000" y="695482"/>
                    <a:pt x="327277" y="701205"/>
                    <a:pt x="327277" y="708273"/>
                  </a:cubicBezTo>
                  <a:cubicBezTo>
                    <a:pt x="327277" y="715341"/>
                    <a:pt x="333000" y="721064"/>
                    <a:pt x="340068" y="721064"/>
                  </a:cubicBezTo>
                  <a:cubicBezTo>
                    <a:pt x="347137" y="721064"/>
                    <a:pt x="352859" y="715341"/>
                    <a:pt x="352859" y="708273"/>
                  </a:cubicBezTo>
                  <a:cubicBezTo>
                    <a:pt x="352859" y="701205"/>
                    <a:pt x="347137" y="695482"/>
                    <a:pt x="340068" y="695482"/>
                  </a:cubicBezTo>
                  <a:moveTo>
                    <a:pt x="340068" y="736386"/>
                  </a:moveTo>
                  <a:cubicBezTo>
                    <a:pt x="333000" y="736386"/>
                    <a:pt x="327277" y="742109"/>
                    <a:pt x="327277" y="749177"/>
                  </a:cubicBezTo>
                  <a:cubicBezTo>
                    <a:pt x="327277" y="756245"/>
                    <a:pt x="333000" y="761968"/>
                    <a:pt x="340068" y="761968"/>
                  </a:cubicBezTo>
                  <a:cubicBezTo>
                    <a:pt x="347137" y="761968"/>
                    <a:pt x="352859" y="756245"/>
                    <a:pt x="352859" y="749177"/>
                  </a:cubicBezTo>
                  <a:cubicBezTo>
                    <a:pt x="352859" y="742109"/>
                    <a:pt x="347137" y="736386"/>
                    <a:pt x="340068" y="736386"/>
                  </a:cubicBezTo>
                  <a:moveTo>
                    <a:pt x="340068" y="777313"/>
                  </a:moveTo>
                  <a:cubicBezTo>
                    <a:pt x="333000" y="777313"/>
                    <a:pt x="327277" y="783035"/>
                    <a:pt x="327277" y="790104"/>
                  </a:cubicBezTo>
                  <a:cubicBezTo>
                    <a:pt x="327277" y="797172"/>
                    <a:pt x="333000" y="802895"/>
                    <a:pt x="340068" y="802895"/>
                  </a:cubicBezTo>
                  <a:cubicBezTo>
                    <a:pt x="347137" y="802895"/>
                    <a:pt x="352859" y="797172"/>
                    <a:pt x="352859" y="790104"/>
                  </a:cubicBezTo>
                  <a:cubicBezTo>
                    <a:pt x="352859" y="783035"/>
                    <a:pt x="347137" y="777313"/>
                    <a:pt x="340068" y="777313"/>
                  </a:cubicBezTo>
                  <a:moveTo>
                    <a:pt x="340068" y="818217"/>
                  </a:moveTo>
                  <a:cubicBezTo>
                    <a:pt x="333000" y="818217"/>
                    <a:pt x="327277" y="823939"/>
                    <a:pt x="327277" y="831008"/>
                  </a:cubicBezTo>
                  <a:cubicBezTo>
                    <a:pt x="327277" y="838076"/>
                    <a:pt x="333000" y="843799"/>
                    <a:pt x="340068" y="843799"/>
                  </a:cubicBezTo>
                  <a:cubicBezTo>
                    <a:pt x="347137" y="843799"/>
                    <a:pt x="352859" y="838076"/>
                    <a:pt x="352859" y="831008"/>
                  </a:cubicBezTo>
                  <a:cubicBezTo>
                    <a:pt x="352859" y="823939"/>
                    <a:pt x="347137" y="818217"/>
                    <a:pt x="340068" y="818217"/>
                  </a:cubicBezTo>
                  <a:moveTo>
                    <a:pt x="340068" y="859121"/>
                  </a:moveTo>
                  <a:cubicBezTo>
                    <a:pt x="333000" y="859121"/>
                    <a:pt x="327277" y="864843"/>
                    <a:pt x="327277" y="871912"/>
                  </a:cubicBezTo>
                  <a:cubicBezTo>
                    <a:pt x="327277" y="878980"/>
                    <a:pt x="333000" y="884703"/>
                    <a:pt x="340068" y="884703"/>
                  </a:cubicBezTo>
                  <a:cubicBezTo>
                    <a:pt x="347137" y="884703"/>
                    <a:pt x="352859" y="878980"/>
                    <a:pt x="352859" y="871912"/>
                  </a:cubicBezTo>
                  <a:cubicBezTo>
                    <a:pt x="352859" y="864843"/>
                    <a:pt x="347137" y="859121"/>
                    <a:pt x="340068" y="859121"/>
                  </a:cubicBezTo>
                  <a:moveTo>
                    <a:pt x="299164" y="0"/>
                  </a:moveTo>
                  <a:cubicBezTo>
                    <a:pt x="292096" y="0"/>
                    <a:pt x="286373" y="5723"/>
                    <a:pt x="286373" y="12791"/>
                  </a:cubicBezTo>
                  <a:cubicBezTo>
                    <a:pt x="286373" y="19859"/>
                    <a:pt x="292096" y="25582"/>
                    <a:pt x="299164" y="25582"/>
                  </a:cubicBezTo>
                  <a:cubicBezTo>
                    <a:pt x="306233" y="25582"/>
                    <a:pt x="311956" y="19859"/>
                    <a:pt x="311956" y="12791"/>
                  </a:cubicBezTo>
                  <a:cubicBezTo>
                    <a:pt x="311956" y="5723"/>
                    <a:pt x="306233" y="0"/>
                    <a:pt x="299164" y="0"/>
                  </a:cubicBezTo>
                  <a:moveTo>
                    <a:pt x="299164" y="40904"/>
                  </a:moveTo>
                  <a:cubicBezTo>
                    <a:pt x="292096" y="40904"/>
                    <a:pt x="286373" y="46627"/>
                    <a:pt x="286373" y="53695"/>
                  </a:cubicBezTo>
                  <a:cubicBezTo>
                    <a:pt x="286373" y="60763"/>
                    <a:pt x="292096" y="66486"/>
                    <a:pt x="299164" y="66486"/>
                  </a:cubicBezTo>
                  <a:cubicBezTo>
                    <a:pt x="306233" y="66486"/>
                    <a:pt x="311956" y="60763"/>
                    <a:pt x="311956" y="53695"/>
                  </a:cubicBezTo>
                  <a:cubicBezTo>
                    <a:pt x="311956" y="46627"/>
                    <a:pt x="306233" y="40904"/>
                    <a:pt x="299164" y="40904"/>
                  </a:cubicBezTo>
                  <a:moveTo>
                    <a:pt x="299164" y="81831"/>
                  </a:moveTo>
                  <a:cubicBezTo>
                    <a:pt x="292096" y="81831"/>
                    <a:pt x="286373" y="87554"/>
                    <a:pt x="286373" y="94622"/>
                  </a:cubicBezTo>
                  <a:cubicBezTo>
                    <a:pt x="286373" y="101690"/>
                    <a:pt x="292096" y="107413"/>
                    <a:pt x="299164" y="107413"/>
                  </a:cubicBezTo>
                  <a:cubicBezTo>
                    <a:pt x="306233" y="107413"/>
                    <a:pt x="311956" y="101690"/>
                    <a:pt x="311956" y="94622"/>
                  </a:cubicBezTo>
                  <a:cubicBezTo>
                    <a:pt x="311956" y="87554"/>
                    <a:pt x="306233" y="81831"/>
                    <a:pt x="299164" y="81831"/>
                  </a:cubicBezTo>
                  <a:moveTo>
                    <a:pt x="299164" y="122735"/>
                  </a:moveTo>
                  <a:cubicBezTo>
                    <a:pt x="292096" y="122735"/>
                    <a:pt x="286373" y="128458"/>
                    <a:pt x="286373" y="135526"/>
                  </a:cubicBezTo>
                  <a:cubicBezTo>
                    <a:pt x="286373" y="142594"/>
                    <a:pt x="292096" y="148317"/>
                    <a:pt x="299164" y="148317"/>
                  </a:cubicBezTo>
                  <a:cubicBezTo>
                    <a:pt x="306233" y="148317"/>
                    <a:pt x="311956" y="142594"/>
                    <a:pt x="311956" y="135526"/>
                  </a:cubicBezTo>
                  <a:cubicBezTo>
                    <a:pt x="311956" y="128458"/>
                    <a:pt x="306233" y="122735"/>
                    <a:pt x="299164" y="122735"/>
                  </a:cubicBezTo>
                  <a:moveTo>
                    <a:pt x="299164" y="163639"/>
                  </a:moveTo>
                  <a:cubicBezTo>
                    <a:pt x="292096" y="163639"/>
                    <a:pt x="286373" y="169362"/>
                    <a:pt x="286373" y="176430"/>
                  </a:cubicBezTo>
                  <a:cubicBezTo>
                    <a:pt x="286373" y="183498"/>
                    <a:pt x="292096" y="189221"/>
                    <a:pt x="299164" y="189221"/>
                  </a:cubicBezTo>
                  <a:cubicBezTo>
                    <a:pt x="306233" y="189221"/>
                    <a:pt x="311956" y="183498"/>
                    <a:pt x="311956" y="176430"/>
                  </a:cubicBezTo>
                  <a:cubicBezTo>
                    <a:pt x="311956" y="169362"/>
                    <a:pt x="306233" y="163639"/>
                    <a:pt x="299164" y="163639"/>
                  </a:cubicBezTo>
                  <a:moveTo>
                    <a:pt x="299164" y="204543"/>
                  </a:moveTo>
                  <a:cubicBezTo>
                    <a:pt x="292096" y="204543"/>
                    <a:pt x="286373" y="210266"/>
                    <a:pt x="286373" y="217334"/>
                  </a:cubicBezTo>
                  <a:cubicBezTo>
                    <a:pt x="286373" y="224402"/>
                    <a:pt x="292096" y="230125"/>
                    <a:pt x="299164" y="230125"/>
                  </a:cubicBezTo>
                  <a:cubicBezTo>
                    <a:pt x="306233" y="230125"/>
                    <a:pt x="311956" y="224402"/>
                    <a:pt x="311956" y="217334"/>
                  </a:cubicBezTo>
                  <a:cubicBezTo>
                    <a:pt x="311956" y="210266"/>
                    <a:pt x="306233" y="204543"/>
                    <a:pt x="299164" y="204543"/>
                  </a:cubicBezTo>
                  <a:moveTo>
                    <a:pt x="299164" y="245470"/>
                  </a:moveTo>
                  <a:cubicBezTo>
                    <a:pt x="292096" y="245470"/>
                    <a:pt x="286373" y="251192"/>
                    <a:pt x="286373" y="258261"/>
                  </a:cubicBezTo>
                  <a:cubicBezTo>
                    <a:pt x="286373" y="265329"/>
                    <a:pt x="292096" y="271052"/>
                    <a:pt x="299164" y="271052"/>
                  </a:cubicBezTo>
                  <a:cubicBezTo>
                    <a:pt x="306233" y="271052"/>
                    <a:pt x="311956" y="265329"/>
                    <a:pt x="311956" y="258261"/>
                  </a:cubicBezTo>
                  <a:cubicBezTo>
                    <a:pt x="311956" y="251192"/>
                    <a:pt x="306233" y="245470"/>
                    <a:pt x="299164" y="245470"/>
                  </a:cubicBezTo>
                  <a:moveTo>
                    <a:pt x="299164" y="286374"/>
                  </a:moveTo>
                  <a:cubicBezTo>
                    <a:pt x="292096" y="286374"/>
                    <a:pt x="286373" y="292096"/>
                    <a:pt x="286373" y="299165"/>
                  </a:cubicBezTo>
                  <a:cubicBezTo>
                    <a:pt x="286373" y="306233"/>
                    <a:pt x="292096" y="311956"/>
                    <a:pt x="299164" y="311956"/>
                  </a:cubicBezTo>
                  <a:cubicBezTo>
                    <a:pt x="306233" y="311956"/>
                    <a:pt x="311956" y="306233"/>
                    <a:pt x="311956" y="299165"/>
                  </a:cubicBezTo>
                  <a:cubicBezTo>
                    <a:pt x="311956" y="292096"/>
                    <a:pt x="306233" y="286374"/>
                    <a:pt x="299164" y="286374"/>
                  </a:cubicBezTo>
                  <a:moveTo>
                    <a:pt x="299164" y="327277"/>
                  </a:moveTo>
                  <a:cubicBezTo>
                    <a:pt x="292096" y="327277"/>
                    <a:pt x="286373" y="333000"/>
                    <a:pt x="286373" y="340069"/>
                  </a:cubicBezTo>
                  <a:cubicBezTo>
                    <a:pt x="286373" y="347137"/>
                    <a:pt x="292096" y="352860"/>
                    <a:pt x="299164" y="352860"/>
                  </a:cubicBezTo>
                  <a:cubicBezTo>
                    <a:pt x="306233" y="352860"/>
                    <a:pt x="311956" y="347137"/>
                    <a:pt x="311956" y="340069"/>
                  </a:cubicBezTo>
                  <a:cubicBezTo>
                    <a:pt x="311956" y="333000"/>
                    <a:pt x="306233" y="327277"/>
                    <a:pt x="299164" y="327277"/>
                  </a:cubicBezTo>
                  <a:moveTo>
                    <a:pt x="299164" y="409108"/>
                  </a:moveTo>
                  <a:cubicBezTo>
                    <a:pt x="292096" y="409108"/>
                    <a:pt x="286373" y="414831"/>
                    <a:pt x="286373" y="421899"/>
                  </a:cubicBezTo>
                  <a:cubicBezTo>
                    <a:pt x="286373" y="428967"/>
                    <a:pt x="292096" y="434690"/>
                    <a:pt x="299164" y="434690"/>
                  </a:cubicBezTo>
                  <a:cubicBezTo>
                    <a:pt x="306233" y="434690"/>
                    <a:pt x="311956" y="428967"/>
                    <a:pt x="311956" y="421899"/>
                  </a:cubicBezTo>
                  <a:cubicBezTo>
                    <a:pt x="311956" y="414831"/>
                    <a:pt x="306233" y="409108"/>
                    <a:pt x="299164" y="409108"/>
                  </a:cubicBezTo>
                  <a:moveTo>
                    <a:pt x="299164" y="450012"/>
                  </a:moveTo>
                  <a:cubicBezTo>
                    <a:pt x="292096" y="450012"/>
                    <a:pt x="286373" y="455735"/>
                    <a:pt x="286373" y="462803"/>
                  </a:cubicBezTo>
                  <a:cubicBezTo>
                    <a:pt x="286373" y="469871"/>
                    <a:pt x="292096" y="475594"/>
                    <a:pt x="299164" y="475594"/>
                  </a:cubicBezTo>
                  <a:cubicBezTo>
                    <a:pt x="306233" y="475594"/>
                    <a:pt x="311956" y="469871"/>
                    <a:pt x="311956" y="462803"/>
                  </a:cubicBezTo>
                  <a:cubicBezTo>
                    <a:pt x="311956" y="455735"/>
                    <a:pt x="306233" y="450012"/>
                    <a:pt x="299164" y="450012"/>
                  </a:cubicBezTo>
                  <a:moveTo>
                    <a:pt x="299164" y="490939"/>
                  </a:moveTo>
                  <a:cubicBezTo>
                    <a:pt x="292096" y="490939"/>
                    <a:pt x="286373" y="496662"/>
                    <a:pt x="286373" y="503730"/>
                  </a:cubicBezTo>
                  <a:cubicBezTo>
                    <a:pt x="286373" y="510798"/>
                    <a:pt x="292096" y="516521"/>
                    <a:pt x="299164" y="516521"/>
                  </a:cubicBezTo>
                  <a:cubicBezTo>
                    <a:pt x="306233" y="516521"/>
                    <a:pt x="311956" y="510798"/>
                    <a:pt x="311956" y="503730"/>
                  </a:cubicBezTo>
                  <a:cubicBezTo>
                    <a:pt x="311956" y="496662"/>
                    <a:pt x="306233" y="490939"/>
                    <a:pt x="299164" y="490939"/>
                  </a:cubicBezTo>
                  <a:moveTo>
                    <a:pt x="299164" y="531843"/>
                  </a:moveTo>
                  <a:cubicBezTo>
                    <a:pt x="292096" y="531843"/>
                    <a:pt x="286373" y="537566"/>
                    <a:pt x="286373" y="544634"/>
                  </a:cubicBezTo>
                  <a:cubicBezTo>
                    <a:pt x="286373" y="551702"/>
                    <a:pt x="292096" y="557425"/>
                    <a:pt x="299164" y="557425"/>
                  </a:cubicBezTo>
                  <a:cubicBezTo>
                    <a:pt x="306233" y="557425"/>
                    <a:pt x="311956" y="551702"/>
                    <a:pt x="311956" y="544634"/>
                  </a:cubicBezTo>
                  <a:cubicBezTo>
                    <a:pt x="311956" y="537566"/>
                    <a:pt x="306233" y="531843"/>
                    <a:pt x="299164" y="531843"/>
                  </a:cubicBezTo>
                  <a:moveTo>
                    <a:pt x="299164" y="572747"/>
                  </a:moveTo>
                  <a:cubicBezTo>
                    <a:pt x="292096" y="572747"/>
                    <a:pt x="286373" y="578470"/>
                    <a:pt x="286373" y="585538"/>
                  </a:cubicBezTo>
                  <a:cubicBezTo>
                    <a:pt x="286373" y="592606"/>
                    <a:pt x="292096" y="598329"/>
                    <a:pt x="299164" y="598329"/>
                  </a:cubicBezTo>
                  <a:cubicBezTo>
                    <a:pt x="306233" y="598329"/>
                    <a:pt x="311956" y="592606"/>
                    <a:pt x="311956" y="585538"/>
                  </a:cubicBezTo>
                  <a:cubicBezTo>
                    <a:pt x="311956" y="578470"/>
                    <a:pt x="306233" y="572747"/>
                    <a:pt x="299164" y="572747"/>
                  </a:cubicBezTo>
                  <a:moveTo>
                    <a:pt x="299164" y="613674"/>
                  </a:moveTo>
                  <a:cubicBezTo>
                    <a:pt x="292096" y="613674"/>
                    <a:pt x="286373" y="619397"/>
                    <a:pt x="286373" y="626465"/>
                  </a:cubicBezTo>
                  <a:cubicBezTo>
                    <a:pt x="286373" y="633533"/>
                    <a:pt x="292096" y="639256"/>
                    <a:pt x="299164" y="639256"/>
                  </a:cubicBezTo>
                  <a:cubicBezTo>
                    <a:pt x="306233" y="639256"/>
                    <a:pt x="311956" y="633533"/>
                    <a:pt x="311956" y="626465"/>
                  </a:cubicBezTo>
                  <a:cubicBezTo>
                    <a:pt x="311956" y="619397"/>
                    <a:pt x="306233" y="613674"/>
                    <a:pt x="299164" y="613674"/>
                  </a:cubicBezTo>
                  <a:moveTo>
                    <a:pt x="299164" y="654578"/>
                  </a:moveTo>
                  <a:cubicBezTo>
                    <a:pt x="292096" y="654578"/>
                    <a:pt x="286373" y="660301"/>
                    <a:pt x="286373" y="667369"/>
                  </a:cubicBezTo>
                  <a:cubicBezTo>
                    <a:pt x="286373" y="674437"/>
                    <a:pt x="292096" y="680160"/>
                    <a:pt x="299164" y="680160"/>
                  </a:cubicBezTo>
                  <a:cubicBezTo>
                    <a:pt x="306233" y="680160"/>
                    <a:pt x="311956" y="674437"/>
                    <a:pt x="311956" y="667369"/>
                  </a:cubicBezTo>
                  <a:cubicBezTo>
                    <a:pt x="311956" y="660301"/>
                    <a:pt x="306233" y="654578"/>
                    <a:pt x="299164" y="654578"/>
                  </a:cubicBezTo>
                  <a:moveTo>
                    <a:pt x="299164" y="695482"/>
                  </a:moveTo>
                  <a:cubicBezTo>
                    <a:pt x="292096" y="695482"/>
                    <a:pt x="286373" y="701205"/>
                    <a:pt x="286373" y="708273"/>
                  </a:cubicBezTo>
                  <a:cubicBezTo>
                    <a:pt x="286373" y="715341"/>
                    <a:pt x="292096" y="721064"/>
                    <a:pt x="299164" y="721064"/>
                  </a:cubicBezTo>
                  <a:cubicBezTo>
                    <a:pt x="306233" y="721064"/>
                    <a:pt x="311956" y="715341"/>
                    <a:pt x="311956" y="708273"/>
                  </a:cubicBezTo>
                  <a:cubicBezTo>
                    <a:pt x="311956" y="701205"/>
                    <a:pt x="306233" y="695482"/>
                    <a:pt x="299164" y="695482"/>
                  </a:cubicBezTo>
                  <a:moveTo>
                    <a:pt x="299164" y="736386"/>
                  </a:moveTo>
                  <a:cubicBezTo>
                    <a:pt x="292096" y="736386"/>
                    <a:pt x="286373" y="742109"/>
                    <a:pt x="286373" y="749177"/>
                  </a:cubicBezTo>
                  <a:cubicBezTo>
                    <a:pt x="286373" y="756245"/>
                    <a:pt x="292096" y="761968"/>
                    <a:pt x="299164" y="761968"/>
                  </a:cubicBezTo>
                  <a:cubicBezTo>
                    <a:pt x="306233" y="761968"/>
                    <a:pt x="311956" y="756245"/>
                    <a:pt x="311956" y="749177"/>
                  </a:cubicBezTo>
                  <a:cubicBezTo>
                    <a:pt x="311956" y="742109"/>
                    <a:pt x="306233" y="736386"/>
                    <a:pt x="299164" y="736386"/>
                  </a:cubicBezTo>
                  <a:moveTo>
                    <a:pt x="299164" y="777313"/>
                  </a:moveTo>
                  <a:cubicBezTo>
                    <a:pt x="292096" y="777313"/>
                    <a:pt x="286373" y="783035"/>
                    <a:pt x="286373" y="790104"/>
                  </a:cubicBezTo>
                  <a:cubicBezTo>
                    <a:pt x="286373" y="797172"/>
                    <a:pt x="292096" y="802895"/>
                    <a:pt x="299164" y="802895"/>
                  </a:cubicBezTo>
                  <a:cubicBezTo>
                    <a:pt x="306233" y="802895"/>
                    <a:pt x="311956" y="797172"/>
                    <a:pt x="311956" y="790104"/>
                  </a:cubicBezTo>
                  <a:cubicBezTo>
                    <a:pt x="311956" y="783035"/>
                    <a:pt x="306233" y="777313"/>
                    <a:pt x="299164" y="777313"/>
                  </a:cubicBezTo>
                  <a:moveTo>
                    <a:pt x="299164" y="818217"/>
                  </a:moveTo>
                  <a:cubicBezTo>
                    <a:pt x="292096" y="818217"/>
                    <a:pt x="286373" y="823939"/>
                    <a:pt x="286373" y="831008"/>
                  </a:cubicBezTo>
                  <a:cubicBezTo>
                    <a:pt x="286373" y="838076"/>
                    <a:pt x="292096" y="843799"/>
                    <a:pt x="299164" y="843799"/>
                  </a:cubicBezTo>
                  <a:cubicBezTo>
                    <a:pt x="306233" y="843799"/>
                    <a:pt x="311956" y="838076"/>
                    <a:pt x="311956" y="831008"/>
                  </a:cubicBezTo>
                  <a:cubicBezTo>
                    <a:pt x="311956" y="823939"/>
                    <a:pt x="306233" y="818217"/>
                    <a:pt x="299164" y="818217"/>
                  </a:cubicBezTo>
                  <a:moveTo>
                    <a:pt x="299164" y="859121"/>
                  </a:moveTo>
                  <a:cubicBezTo>
                    <a:pt x="292096" y="859121"/>
                    <a:pt x="286373" y="864843"/>
                    <a:pt x="286373" y="871912"/>
                  </a:cubicBezTo>
                  <a:cubicBezTo>
                    <a:pt x="286373" y="878980"/>
                    <a:pt x="292096" y="884703"/>
                    <a:pt x="299164" y="884703"/>
                  </a:cubicBezTo>
                  <a:cubicBezTo>
                    <a:pt x="306233" y="884703"/>
                    <a:pt x="311956" y="878980"/>
                    <a:pt x="311956" y="871912"/>
                  </a:cubicBezTo>
                  <a:cubicBezTo>
                    <a:pt x="311956" y="864843"/>
                    <a:pt x="306233" y="859121"/>
                    <a:pt x="299164" y="859121"/>
                  </a:cubicBezTo>
                  <a:moveTo>
                    <a:pt x="258260" y="40904"/>
                  </a:moveTo>
                  <a:cubicBezTo>
                    <a:pt x="251192" y="40904"/>
                    <a:pt x="245469" y="46627"/>
                    <a:pt x="245469" y="53695"/>
                  </a:cubicBezTo>
                  <a:cubicBezTo>
                    <a:pt x="245469" y="60763"/>
                    <a:pt x="251192" y="66486"/>
                    <a:pt x="258260" y="66486"/>
                  </a:cubicBezTo>
                  <a:cubicBezTo>
                    <a:pt x="265329" y="66486"/>
                    <a:pt x="271052" y="60763"/>
                    <a:pt x="271052" y="53695"/>
                  </a:cubicBezTo>
                  <a:cubicBezTo>
                    <a:pt x="271052" y="46627"/>
                    <a:pt x="265329" y="40904"/>
                    <a:pt x="258260" y="40904"/>
                  </a:cubicBezTo>
                  <a:moveTo>
                    <a:pt x="258260" y="81831"/>
                  </a:moveTo>
                  <a:cubicBezTo>
                    <a:pt x="251192" y="81831"/>
                    <a:pt x="245469" y="87554"/>
                    <a:pt x="245469" y="94622"/>
                  </a:cubicBezTo>
                  <a:cubicBezTo>
                    <a:pt x="245469" y="101690"/>
                    <a:pt x="251192" y="107413"/>
                    <a:pt x="258260" y="107413"/>
                  </a:cubicBezTo>
                  <a:cubicBezTo>
                    <a:pt x="265329" y="107413"/>
                    <a:pt x="271052" y="101690"/>
                    <a:pt x="271052" y="94622"/>
                  </a:cubicBezTo>
                  <a:cubicBezTo>
                    <a:pt x="271052" y="87554"/>
                    <a:pt x="265329" y="81831"/>
                    <a:pt x="258260" y="81831"/>
                  </a:cubicBezTo>
                  <a:moveTo>
                    <a:pt x="258260" y="122735"/>
                  </a:moveTo>
                  <a:cubicBezTo>
                    <a:pt x="251192" y="122735"/>
                    <a:pt x="245469" y="128458"/>
                    <a:pt x="245469" y="135526"/>
                  </a:cubicBezTo>
                  <a:cubicBezTo>
                    <a:pt x="245469" y="142594"/>
                    <a:pt x="251192" y="148317"/>
                    <a:pt x="258260" y="148317"/>
                  </a:cubicBezTo>
                  <a:cubicBezTo>
                    <a:pt x="265329" y="148317"/>
                    <a:pt x="271052" y="142594"/>
                    <a:pt x="271052" y="135526"/>
                  </a:cubicBezTo>
                  <a:cubicBezTo>
                    <a:pt x="271052" y="128458"/>
                    <a:pt x="265329" y="122735"/>
                    <a:pt x="258260" y="122735"/>
                  </a:cubicBezTo>
                  <a:moveTo>
                    <a:pt x="258260" y="163639"/>
                  </a:moveTo>
                  <a:cubicBezTo>
                    <a:pt x="251192" y="163639"/>
                    <a:pt x="245469" y="169362"/>
                    <a:pt x="245469" y="176430"/>
                  </a:cubicBezTo>
                  <a:cubicBezTo>
                    <a:pt x="245469" y="183498"/>
                    <a:pt x="251192" y="189221"/>
                    <a:pt x="258260" y="189221"/>
                  </a:cubicBezTo>
                  <a:cubicBezTo>
                    <a:pt x="265329" y="189221"/>
                    <a:pt x="271052" y="183498"/>
                    <a:pt x="271052" y="176430"/>
                  </a:cubicBezTo>
                  <a:cubicBezTo>
                    <a:pt x="271052" y="169362"/>
                    <a:pt x="265329" y="163639"/>
                    <a:pt x="258260" y="163639"/>
                  </a:cubicBezTo>
                  <a:moveTo>
                    <a:pt x="258260" y="204543"/>
                  </a:moveTo>
                  <a:cubicBezTo>
                    <a:pt x="251192" y="204543"/>
                    <a:pt x="245469" y="210266"/>
                    <a:pt x="245469" y="217334"/>
                  </a:cubicBezTo>
                  <a:cubicBezTo>
                    <a:pt x="245469" y="224402"/>
                    <a:pt x="251192" y="230125"/>
                    <a:pt x="258260" y="230125"/>
                  </a:cubicBezTo>
                  <a:cubicBezTo>
                    <a:pt x="265329" y="230125"/>
                    <a:pt x="271052" y="224402"/>
                    <a:pt x="271052" y="217334"/>
                  </a:cubicBezTo>
                  <a:cubicBezTo>
                    <a:pt x="271052" y="210266"/>
                    <a:pt x="265329" y="204543"/>
                    <a:pt x="258260" y="204543"/>
                  </a:cubicBezTo>
                  <a:moveTo>
                    <a:pt x="258260" y="245470"/>
                  </a:moveTo>
                  <a:cubicBezTo>
                    <a:pt x="251192" y="245470"/>
                    <a:pt x="245469" y="251192"/>
                    <a:pt x="245469" y="258261"/>
                  </a:cubicBezTo>
                  <a:cubicBezTo>
                    <a:pt x="245469" y="265329"/>
                    <a:pt x="251192" y="271052"/>
                    <a:pt x="258260" y="271052"/>
                  </a:cubicBezTo>
                  <a:cubicBezTo>
                    <a:pt x="265329" y="271052"/>
                    <a:pt x="271052" y="265329"/>
                    <a:pt x="271052" y="258261"/>
                  </a:cubicBezTo>
                  <a:cubicBezTo>
                    <a:pt x="271052" y="251192"/>
                    <a:pt x="265329" y="245470"/>
                    <a:pt x="258260" y="245470"/>
                  </a:cubicBezTo>
                  <a:moveTo>
                    <a:pt x="258260" y="286374"/>
                  </a:moveTo>
                  <a:cubicBezTo>
                    <a:pt x="251192" y="286374"/>
                    <a:pt x="245469" y="292096"/>
                    <a:pt x="245469" y="299165"/>
                  </a:cubicBezTo>
                  <a:cubicBezTo>
                    <a:pt x="245469" y="306233"/>
                    <a:pt x="251192" y="311956"/>
                    <a:pt x="258260" y="311956"/>
                  </a:cubicBezTo>
                  <a:cubicBezTo>
                    <a:pt x="265329" y="311956"/>
                    <a:pt x="271052" y="306233"/>
                    <a:pt x="271052" y="299165"/>
                  </a:cubicBezTo>
                  <a:cubicBezTo>
                    <a:pt x="271052" y="292096"/>
                    <a:pt x="265329" y="286374"/>
                    <a:pt x="258260" y="286374"/>
                  </a:cubicBezTo>
                  <a:moveTo>
                    <a:pt x="258260" y="327277"/>
                  </a:moveTo>
                  <a:cubicBezTo>
                    <a:pt x="251192" y="327277"/>
                    <a:pt x="245469" y="333000"/>
                    <a:pt x="245469" y="340069"/>
                  </a:cubicBezTo>
                  <a:cubicBezTo>
                    <a:pt x="245469" y="347137"/>
                    <a:pt x="251192" y="352860"/>
                    <a:pt x="258260" y="352860"/>
                  </a:cubicBezTo>
                  <a:cubicBezTo>
                    <a:pt x="265329" y="352860"/>
                    <a:pt x="271052" y="347137"/>
                    <a:pt x="271052" y="340069"/>
                  </a:cubicBezTo>
                  <a:cubicBezTo>
                    <a:pt x="271052" y="333000"/>
                    <a:pt x="265329" y="327277"/>
                    <a:pt x="258260" y="327277"/>
                  </a:cubicBezTo>
                  <a:moveTo>
                    <a:pt x="258260" y="368204"/>
                  </a:moveTo>
                  <a:cubicBezTo>
                    <a:pt x="251192" y="368204"/>
                    <a:pt x="245469" y="373927"/>
                    <a:pt x="245469" y="380995"/>
                  </a:cubicBezTo>
                  <a:cubicBezTo>
                    <a:pt x="245469" y="388063"/>
                    <a:pt x="251192" y="393786"/>
                    <a:pt x="258260" y="393786"/>
                  </a:cubicBezTo>
                  <a:cubicBezTo>
                    <a:pt x="265329" y="393786"/>
                    <a:pt x="271052" y="388063"/>
                    <a:pt x="271052" y="380995"/>
                  </a:cubicBezTo>
                  <a:cubicBezTo>
                    <a:pt x="271052" y="373927"/>
                    <a:pt x="265329" y="368204"/>
                    <a:pt x="258260" y="368204"/>
                  </a:cubicBezTo>
                  <a:moveTo>
                    <a:pt x="258260" y="409108"/>
                  </a:moveTo>
                  <a:cubicBezTo>
                    <a:pt x="251192" y="409108"/>
                    <a:pt x="245469" y="414831"/>
                    <a:pt x="245469" y="421899"/>
                  </a:cubicBezTo>
                  <a:cubicBezTo>
                    <a:pt x="245469" y="428967"/>
                    <a:pt x="251192" y="434690"/>
                    <a:pt x="258260" y="434690"/>
                  </a:cubicBezTo>
                  <a:cubicBezTo>
                    <a:pt x="265329" y="434690"/>
                    <a:pt x="271052" y="428967"/>
                    <a:pt x="271052" y="421899"/>
                  </a:cubicBezTo>
                  <a:cubicBezTo>
                    <a:pt x="271052" y="414831"/>
                    <a:pt x="265329" y="409108"/>
                    <a:pt x="258260" y="409108"/>
                  </a:cubicBezTo>
                  <a:moveTo>
                    <a:pt x="258260" y="450012"/>
                  </a:moveTo>
                  <a:cubicBezTo>
                    <a:pt x="251192" y="450012"/>
                    <a:pt x="245469" y="455735"/>
                    <a:pt x="245469" y="462803"/>
                  </a:cubicBezTo>
                  <a:cubicBezTo>
                    <a:pt x="245469" y="469871"/>
                    <a:pt x="251192" y="475594"/>
                    <a:pt x="258260" y="475594"/>
                  </a:cubicBezTo>
                  <a:cubicBezTo>
                    <a:pt x="265329" y="475594"/>
                    <a:pt x="271052" y="469871"/>
                    <a:pt x="271052" y="462803"/>
                  </a:cubicBezTo>
                  <a:cubicBezTo>
                    <a:pt x="271052" y="455735"/>
                    <a:pt x="265329" y="450012"/>
                    <a:pt x="258260" y="450012"/>
                  </a:cubicBezTo>
                  <a:moveTo>
                    <a:pt x="258260" y="490939"/>
                  </a:moveTo>
                  <a:cubicBezTo>
                    <a:pt x="251192" y="490939"/>
                    <a:pt x="245469" y="496662"/>
                    <a:pt x="245469" y="503730"/>
                  </a:cubicBezTo>
                  <a:cubicBezTo>
                    <a:pt x="245469" y="510798"/>
                    <a:pt x="251192" y="516521"/>
                    <a:pt x="258260" y="516521"/>
                  </a:cubicBezTo>
                  <a:cubicBezTo>
                    <a:pt x="265329" y="516521"/>
                    <a:pt x="271052" y="510798"/>
                    <a:pt x="271052" y="503730"/>
                  </a:cubicBezTo>
                  <a:cubicBezTo>
                    <a:pt x="271052" y="496662"/>
                    <a:pt x="265329" y="490939"/>
                    <a:pt x="258260" y="490939"/>
                  </a:cubicBezTo>
                  <a:moveTo>
                    <a:pt x="258260" y="531843"/>
                  </a:moveTo>
                  <a:cubicBezTo>
                    <a:pt x="251192" y="531843"/>
                    <a:pt x="245469" y="537566"/>
                    <a:pt x="245469" y="544634"/>
                  </a:cubicBezTo>
                  <a:cubicBezTo>
                    <a:pt x="245469" y="551702"/>
                    <a:pt x="251192" y="557425"/>
                    <a:pt x="258260" y="557425"/>
                  </a:cubicBezTo>
                  <a:cubicBezTo>
                    <a:pt x="265329" y="557425"/>
                    <a:pt x="271052" y="551702"/>
                    <a:pt x="271052" y="544634"/>
                  </a:cubicBezTo>
                  <a:cubicBezTo>
                    <a:pt x="271052" y="537566"/>
                    <a:pt x="265329" y="531843"/>
                    <a:pt x="258260" y="531843"/>
                  </a:cubicBezTo>
                  <a:moveTo>
                    <a:pt x="258260" y="572747"/>
                  </a:moveTo>
                  <a:cubicBezTo>
                    <a:pt x="251192" y="572747"/>
                    <a:pt x="245469" y="578470"/>
                    <a:pt x="245469" y="585538"/>
                  </a:cubicBezTo>
                  <a:cubicBezTo>
                    <a:pt x="245469" y="592606"/>
                    <a:pt x="251192" y="598329"/>
                    <a:pt x="258260" y="598329"/>
                  </a:cubicBezTo>
                  <a:cubicBezTo>
                    <a:pt x="265329" y="598329"/>
                    <a:pt x="271052" y="592606"/>
                    <a:pt x="271052" y="585538"/>
                  </a:cubicBezTo>
                  <a:cubicBezTo>
                    <a:pt x="271052" y="578470"/>
                    <a:pt x="265329" y="572747"/>
                    <a:pt x="258260" y="572747"/>
                  </a:cubicBezTo>
                  <a:moveTo>
                    <a:pt x="258260" y="613674"/>
                  </a:moveTo>
                  <a:cubicBezTo>
                    <a:pt x="251192" y="613674"/>
                    <a:pt x="245469" y="619397"/>
                    <a:pt x="245469" y="626465"/>
                  </a:cubicBezTo>
                  <a:cubicBezTo>
                    <a:pt x="245469" y="633533"/>
                    <a:pt x="251192" y="639256"/>
                    <a:pt x="258260" y="639256"/>
                  </a:cubicBezTo>
                  <a:cubicBezTo>
                    <a:pt x="265329" y="639256"/>
                    <a:pt x="271052" y="633533"/>
                    <a:pt x="271052" y="626465"/>
                  </a:cubicBezTo>
                  <a:cubicBezTo>
                    <a:pt x="271052" y="619397"/>
                    <a:pt x="265329" y="613674"/>
                    <a:pt x="258260" y="613674"/>
                  </a:cubicBezTo>
                  <a:moveTo>
                    <a:pt x="258260" y="654578"/>
                  </a:moveTo>
                  <a:cubicBezTo>
                    <a:pt x="251192" y="654578"/>
                    <a:pt x="245469" y="660301"/>
                    <a:pt x="245469" y="667369"/>
                  </a:cubicBezTo>
                  <a:cubicBezTo>
                    <a:pt x="245469" y="674437"/>
                    <a:pt x="251192" y="680160"/>
                    <a:pt x="258260" y="680160"/>
                  </a:cubicBezTo>
                  <a:cubicBezTo>
                    <a:pt x="265329" y="680160"/>
                    <a:pt x="271052" y="674437"/>
                    <a:pt x="271052" y="667369"/>
                  </a:cubicBezTo>
                  <a:cubicBezTo>
                    <a:pt x="271052" y="660301"/>
                    <a:pt x="265329" y="654578"/>
                    <a:pt x="258260" y="654578"/>
                  </a:cubicBezTo>
                  <a:moveTo>
                    <a:pt x="258260" y="695482"/>
                  </a:moveTo>
                  <a:cubicBezTo>
                    <a:pt x="251192" y="695482"/>
                    <a:pt x="245469" y="701205"/>
                    <a:pt x="245469" y="708273"/>
                  </a:cubicBezTo>
                  <a:cubicBezTo>
                    <a:pt x="245469" y="715341"/>
                    <a:pt x="251192" y="721064"/>
                    <a:pt x="258260" y="721064"/>
                  </a:cubicBezTo>
                  <a:cubicBezTo>
                    <a:pt x="265329" y="721064"/>
                    <a:pt x="271052" y="715341"/>
                    <a:pt x="271052" y="708273"/>
                  </a:cubicBezTo>
                  <a:cubicBezTo>
                    <a:pt x="271052" y="701205"/>
                    <a:pt x="265329" y="695482"/>
                    <a:pt x="258260" y="695482"/>
                  </a:cubicBezTo>
                  <a:moveTo>
                    <a:pt x="258260" y="736386"/>
                  </a:moveTo>
                  <a:cubicBezTo>
                    <a:pt x="251192" y="736386"/>
                    <a:pt x="245469" y="742109"/>
                    <a:pt x="245469" y="749177"/>
                  </a:cubicBezTo>
                  <a:cubicBezTo>
                    <a:pt x="245469" y="756245"/>
                    <a:pt x="251192" y="761968"/>
                    <a:pt x="258260" y="761968"/>
                  </a:cubicBezTo>
                  <a:cubicBezTo>
                    <a:pt x="265329" y="761968"/>
                    <a:pt x="271052" y="756245"/>
                    <a:pt x="271052" y="749177"/>
                  </a:cubicBezTo>
                  <a:cubicBezTo>
                    <a:pt x="271052" y="742109"/>
                    <a:pt x="265329" y="736386"/>
                    <a:pt x="258260" y="736386"/>
                  </a:cubicBezTo>
                  <a:moveTo>
                    <a:pt x="258260" y="777313"/>
                  </a:moveTo>
                  <a:cubicBezTo>
                    <a:pt x="251192" y="777313"/>
                    <a:pt x="245469" y="783035"/>
                    <a:pt x="245469" y="790104"/>
                  </a:cubicBezTo>
                  <a:cubicBezTo>
                    <a:pt x="245469" y="797172"/>
                    <a:pt x="251192" y="802895"/>
                    <a:pt x="258260" y="802895"/>
                  </a:cubicBezTo>
                  <a:cubicBezTo>
                    <a:pt x="265329" y="802895"/>
                    <a:pt x="271052" y="797172"/>
                    <a:pt x="271052" y="790104"/>
                  </a:cubicBezTo>
                  <a:cubicBezTo>
                    <a:pt x="271052" y="783035"/>
                    <a:pt x="265329" y="777313"/>
                    <a:pt x="258260" y="777313"/>
                  </a:cubicBezTo>
                  <a:moveTo>
                    <a:pt x="258260" y="818217"/>
                  </a:moveTo>
                  <a:cubicBezTo>
                    <a:pt x="251192" y="818217"/>
                    <a:pt x="245469" y="823939"/>
                    <a:pt x="245469" y="831008"/>
                  </a:cubicBezTo>
                  <a:cubicBezTo>
                    <a:pt x="245469" y="838076"/>
                    <a:pt x="251192" y="843799"/>
                    <a:pt x="258260" y="843799"/>
                  </a:cubicBezTo>
                  <a:cubicBezTo>
                    <a:pt x="265329" y="843799"/>
                    <a:pt x="271052" y="838076"/>
                    <a:pt x="271052" y="831008"/>
                  </a:cubicBezTo>
                  <a:cubicBezTo>
                    <a:pt x="271052" y="823939"/>
                    <a:pt x="265329" y="818217"/>
                    <a:pt x="258260" y="818217"/>
                  </a:cubicBezTo>
                  <a:moveTo>
                    <a:pt x="258260" y="859121"/>
                  </a:moveTo>
                  <a:cubicBezTo>
                    <a:pt x="251192" y="859121"/>
                    <a:pt x="245469" y="864843"/>
                    <a:pt x="245469" y="871912"/>
                  </a:cubicBezTo>
                  <a:cubicBezTo>
                    <a:pt x="245469" y="878980"/>
                    <a:pt x="251192" y="884703"/>
                    <a:pt x="258260" y="884703"/>
                  </a:cubicBezTo>
                  <a:cubicBezTo>
                    <a:pt x="265329" y="884703"/>
                    <a:pt x="271052" y="878980"/>
                    <a:pt x="271052" y="871912"/>
                  </a:cubicBezTo>
                  <a:cubicBezTo>
                    <a:pt x="271052" y="864843"/>
                    <a:pt x="265329" y="859121"/>
                    <a:pt x="258260" y="859121"/>
                  </a:cubicBezTo>
                  <a:moveTo>
                    <a:pt x="217334" y="81831"/>
                  </a:moveTo>
                  <a:cubicBezTo>
                    <a:pt x="210266" y="81831"/>
                    <a:pt x="204543" y="87554"/>
                    <a:pt x="204543" y="94622"/>
                  </a:cubicBezTo>
                  <a:cubicBezTo>
                    <a:pt x="204543" y="101690"/>
                    <a:pt x="210266" y="107413"/>
                    <a:pt x="217334" y="107413"/>
                  </a:cubicBezTo>
                  <a:cubicBezTo>
                    <a:pt x="224402" y="107413"/>
                    <a:pt x="230125" y="101690"/>
                    <a:pt x="230125" y="94622"/>
                  </a:cubicBezTo>
                  <a:cubicBezTo>
                    <a:pt x="230125" y="87554"/>
                    <a:pt x="224402" y="81831"/>
                    <a:pt x="217334" y="81831"/>
                  </a:cubicBezTo>
                  <a:moveTo>
                    <a:pt x="217334" y="122735"/>
                  </a:moveTo>
                  <a:cubicBezTo>
                    <a:pt x="210266" y="122735"/>
                    <a:pt x="204543" y="128458"/>
                    <a:pt x="204543" y="135526"/>
                  </a:cubicBezTo>
                  <a:cubicBezTo>
                    <a:pt x="204543" y="142594"/>
                    <a:pt x="210266" y="148317"/>
                    <a:pt x="217334" y="148317"/>
                  </a:cubicBezTo>
                  <a:cubicBezTo>
                    <a:pt x="224402" y="148317"/>
                    <a:pt x="230125" y="142594"/>
                    <a:pt x="230125" y="135526"/>
                  </a:cubicBezTo>
                  <a:cubicBezTo>
                    <a:pt x="230125" y="128458"/>
                    <a:pt x="224402" y="122735"/>
                    <a:pt x="217334" y="122735"/>
                  </a:cubicBezTo>
                  <a:moveTo>
                    <a:pt x="217334" y="163639"/>
                  </a:moveTo>
                  <a:cubicBezTo>
                    <a:pt x="210266" y="163639"/>
                    <a:pt x="204543" y="169362"/>
                    <a:pt x="204543" y="176430"/>
                  </a:cubicBezTo>
                  <a:cubicBezTo>
                    <a:pt x="204543" y="183498"/>
                    <a:pt x="210266" y="189221"/>
                    <a:pt x="217334" y="189221"/>
                  </a:cubicBezTo>
                  <a:cubicBezTo>
                    <a:pt x="224402" y="189221"/>
                    <a:pt x="230125" y="183498"/>
                    <a:pt x="230125" y="176430"/>
                  </a:cubicBezTo>
                  <a:cubicBezTo>
                    <a:pt x="230125" y="169362"/>
                    <a:pt x="224402" y="163639"/>
                    <a:pt x="217334" y="163639"/>
                  </a:cubicBezTo>
                  <a:moveTo>
                    <a:pt x="217334" y="204543"/>
                  </a:moveTo>
                  <a:cubicBezTo>
                    <a:pt x="210266" y="204543"/>
                    <a:pt x="204543" y="210266"/>
                    <a:pt x="204543" y="217334"/>
                  </a:cubicBezTo>
                  <a:cubicBezTo>
                    <a:pt x="204543" y="224402"/>
                    <a:pt x="210266" y="230125"/>
                    <a:pt x="217334" y="230125"/>
                  </a:cubicBezTo>
                  <a:cubicBezTo>
                    <a:pt x="224402" y="230125"/>
                    <a:pt x="230125" y="224402"/>
                    <a:pt x="230125" y="217334"/>
                  </a:cubicBezTo>
                  <a:cubicBezTo>
                    <a:pt x="230125" y="210266"/>
                    <a:pt x="224402" y="204543"/>
                    <a:pt x="217334" y="204543"/>
                  </a:cubicBezTo>
                  <a:moveTo>
                    <a:pt x="217334" y="245470"/>
                  </a:moveTo>
                  <a:cubicBezTo>
                    <a:pt x="210266" y="245470"/>
                    <a:pt x="204543" y="251192"/>
                    <a:pt x="204543" y="258261"/>
                  </a:cubicBezTo>
                  <a:cubicBezTo>
                    <a:pt x="204543" y="265329"/>
                    <a:pt x="210266" y="271052"/>
                    <a:pt x="217334" y="271052"/>
                  </a:cubicBezTo>
                  <a:cubicBezTo>
                    <a:pt x="224402" y="271052"/>
                    <a:pt x="230125" y="265329"/>
                    <a:pt x="230125" y="258261"/>
                  </a:cubicBezTo>
                  <a:cubicBezTo>
                    <a:pt x="230125" y="251192"/>
                    <a:pt x="224402" y="245470"/>
                    <a:pt x="217334" y="245470"/>
                  </a:cubicBezTo>
                  <a:moveTo>
                    <a:pt x="217334" y="286374"/>
                  </a:moveTo>
                  <a:cubicBezTo>
                    <a:pt x="210266" y="286374"/>
                    <a:pt x="204543" y="292096"/>
                    <a:pt x="204543" y="299165"/>
                  </a:cubicBezTo>
                  <a:cubicBezTo>
                    <a:pt x="204543" y="306233"/>
                    <a:pt x="210266" y="311956"/>
                    <a:pt x="217334" y="311956"/>
                  </a:cubicBezTo>
                  <a:cubicBezTo>
                    <a:pt x="224402" y="311956"/>
                    <a:pt x="230125" y="306233"/>
                    <a:pt x="230125" y="299165"/>
                  </a:cubicBezTo>
                  <a:cubicBezTo>
                    <a:pt x="230125" y="292096"/>
                    <a:pt x="224402" y="286374"/>
                    <a:pt x="217334" y="286374"/>
                  </a:cubicBezTo>
                  <a:moveTo>
                    <a:pt x="217334" y="327277"/>
                  </a:moveTo>
                  <a:cubicBezTo>
                    <a:pt x="210266" y="327277"/>
                    <a:pt x="204543" y="333000"/>
                    <a:pt x="204543" y="340069"/>
                  </a:cubicBezTo>
                  <a:cubicBezTo>
                    <a:pt x="204543" y="347137"/>
                    <a:pt x="210266" y="352860"/>
                    <a:pt x="217334" y="352860"/>
                  </a:cubicBezTo>
                  <a:cubicBezTo>
                    <a:pt x="224402" y="352860"/>
                    <a:pt x="230125" y="347137"/>
                    <a:pt x="230125" y="340069"/>
                  </a:cubicBezTo>
                  <a:cubicBezTo>
                    <a:pt x="230125" y="333000"/>
                    <a:pt x="224402" y="327277"/>
                    <a:pt x="217334" y="327277"/>
                  </a:cubicBezTo>
                  <a:moveTo>
                    <a:pt x="217334" y="368204"/>
                  </a:moveTo>
                  <a:cubicBezTo>
                    <a:pt x="210266" y="368204"/>
                    <a:pt x="204543" y="373927"/>
                    <a:pt x="204543" y="380995"/>
                  </a:cubicBezTo>
                  <a:cubicBezTo>
                    <a:pt x="204543" y="388063"/>
                    <a:pt x="210266" y="393786"/>
                    <a:pt x="217334" y="393786"/>
                  </a:cubicBezTo>
                  <a:cubicBezTo>
                    <a:pt x="224402" y="393786"/>
                    <a:pt x="230125" y="388063"/>
                    <a:pt x="230125" y="380995"/>
                  </a:cubicBezTo>
                  <a:cubicBezTo>
                    <a:pt x="230125" y="373927"/>
                    <a:pt x="224402" y="368204"/>
                    <a:pt x="217334" y="368204"/>
                  </a:cubicBezTo>
                  <a:moveTo>
                    <a:pt x="217334" y="409108"/>
                  </a:moveTo>
                  <a:cubicBezTo>
                    <a:pt x="210266" y="409108"/>
                    <a:pt x="204543" y="414831"/>
                    <a:pt x="204543" y="421899"/>
                  </a:cubicBezTo>
                  <a:cubicBezTo>
                    <a:pt x="204543" y="428967"/>
                    <a:pt x="210266" y="434690"/>
                    <a:pt x="217334" y="434690"/>
                  </a:cubicBezTo>
                  <a:cubicBezTo>
                    <a:pt x="224402" y="434690"/>
                    <a:pt x="230125" y="428967"/>
                    <a:pt x="230125" y="421899"/>
                  </a:cubicBezTo>
                  <a:cubicBezTo>
                    <a:pt x="230125" y="414831"/>
                    <a:pt x="224402" y="409108"/>
                    <a:pt x="217334" y="409108"/>
                  </a:cubicBezTo>
                  <a:moveTo>
                    <a:pt x="217334" y="450012"/>
                  </a:moveTo>
                  <a:cubicBezTo>
                    <a:pt x="210266" y="450012"/>
                    <a:pt x="204543" y="455735"/>
                    <a:pt x="204543" y="462803"/>
                  </a:cubicBezTo>
                  <a:cubicBezTo>
                    <a:pt x="204543" y="469871"/>
                    <a:pt x="210266" y="475594"/>
                    <a:pt x="217334" y="475594"/>
                  </a:cubicBezTo>
                  <a:cubicBezTo>
                    <a:pt x="224402" y="475594"/>
                    <a:pt x="230125" y="469871"/>
                    <a:pt x="230125" y="462803"/>
                  </a:cubicBezTo>
                  <a:cubicBezTo>
                    <a:pt x="230125" y="455735"/>
                    <a:pt x="224402" y="450012"/>
                    <a:pt x="217334" y="450012"/>
                  </a:cubicBezTo>
                  <a:moveTo>
                    <a:pt x="217334" y="490939"/>
                  </a:moveTo>
                  <a:cubicBezTo>
                    <a:pt x="210266" y="490939"/>
                    <a:pt x="204543" y="496662"/>
                    <a:pt x="204543" y="503730"/>
                  </a:cubicBezTo>
                  <a:cubicBezTo>
                    <a:pt x="204543" y="510798"/>
                    <a:pt x="210266" y="516521"/>
                    <a:pt x="217334" y="516521"/>
                  </a:cubicBezTo>
                  <a:cubicBezTo>
                    <a:pt x="224402" y="516521"/>
                    <a:pt x="230125" y="510798"/>
                    <a:pt x="230125" y="503730"/>
                  </a:cubicBezTo>
                  <a:cubicBezTo>
                    <a:pt x="230125" y="496662"/>
                    <a:pt x="224402" y="490939"/>
                    <a:pt x="217334" y="490939"/>
                  </a:cubicBezTo>
                  <a:moveTo>
                    <a:pt x="217334" y="531843"/>
                  </a:moveTo>
                  <a:cubicBezTo>
                    <a:pt x="210266" y="531843"/>
                    <a:pt x="204543" y="537566"/>
                    <a:pt x="204543" y="544634"/>
                  </a:cubicBezTo>
                  <a:cubicBezTo>
                    <a:pt x="204543" y="551702"/>
                    <a:pt x="210266" y="557425"/>
                    <a:pt x="217334" y="557425"/>
                  </a:cubicBezTo>
                  <a:cubicBezTo>
                    <a:pt x="224402" y="557425"/>
                    <a:pt x="230125" y="551702"/>
                    <a:pt x="230125" y="544634"/>
                  </a:cubicBezTo>
                  <a:cubicBezTo>
                    <a:pt x="230125" y="537566"/>
                    <a:pt x="224402" y="531843"/>
                    <a:pt x="217334" y="531843"/>
                  </a:cubicBezTo>
                  <a:moveTo>
                    <a:pt x="217334" y="572747"/>
                  </a:moveTo>
                  <a:cubicBezTo>
                    <a:pt x="210266" y="572747"/>
                    <a:pt x="204543" y="578470"/>
                    <a:pt x="204543" y="585538"/>
                  </a:cubicBezTo>
                  <a:cubicBezTo>
                    <a:pt x="204543" y="592606"/>
                    <a:pt x="210266" y="598329"/>
                    <a:pt x="217334" y="598329"/>
                  </a:cubicBezTo>
                  <a:cubicBezTo>
                    <a:pt x="224402" y="598329"/>
                    <a:pt x="230125" y="592606"/>
                    <a:pt x="230125" y="585538"/>
                  </a:cubicBezTo>
                  <a:cubicBezTo>
                    <a:pt x="230125" y="578470"/>
                    <a:pt x="224402" y="572747"/>
                    <a:pt x="217334" y="572747"/>
                  </a:cubicBezTo>
                  <a:moveTo>
                    <a:pt x="217334" y="613674"/>
                  </a:moveTo>
                  <a:cubicBezTo>
                    <a:pt x="210266" y="613674"/>
                    <a:pt x="204543" y="619397"/>
                    <a:pt x="204543" y="626465"/>
                  </a:cubicBezTo>
                  <a:cubicBezTo>
                    <a:pt x="204543" y="633533"/>
                    <a:pt x="210266" y="639256"/>
                    <a:pt x="217334" y="639256"/>
                  </a:cubicBezTo>
                  <a:cubicBezTo>
                    <a:pt x="224402" y="639256"/>
                    <a:pt x="230125" y="633533"/>
                    <a:pt x="230125" y="626465"/>
                  </a:cubicBezTo>
                  <a:cubicBezTo>
                    <a:pt x="230125" y="619397"/>
                    <a:pt x="224402" y="613674"/>
                    <a:pt x="217334" y="613674"/>
                  </a:cubicBezTo>
                  <a:moveTo>
                    <a:pt x="217334" y="654578"/>
                  </a:moveTo>
                  <a:cubicBezTo>
                    <a:pt x="210266" y="654578"/>
                    <a:pt x="204543" y="660301"/>
                    <a:pt x="204543" y="667369"/>
                  </a:cubicBezTo>
                  <a:cubicBezTo>
                    <a:pt x="204543" y="674437"/>
                    <a:pt x="210266" y="680160"/>
                    <a:pt x="217334" y="680160"/>
                  </a:cubicBezTo>
                  <a:cubicBezTo>
                    <a:pt x="224402" y="680160"/>
                    <a:pt x="230125" y="674437"/>
                    <a:pt x="230125" y="667369"/>
                  </a:cubicBezTo>
                  <a:cubicBezTo>
                    <a:pt x="230125" y="660301"/>
                    <a:pt x="224402" y="654578"/>
                    <a:pt x="217334" y="654578"/>
                  </a:cubicBezTo>
                  <a:moveTo>
                    <a:pt x="217334" y="695482"/>
                  </a:moveTo>
                  <a:cubicBezTo>
                    <a:pt x="210266" y="695482"/>
                    <a:pt x="204543" y="701205"/>
                    <a:pt x="204543" y="708273"/>
                  </a:cubicBezTo>
                  <a:cubicBezTo>
                    <a:pt x="204543" y="715341"/>
                    <a:pt x="210266" y="721064"/>
                    <a:pt x="217334" y="721064"/>
                  </a:cubicBezTo>
                  <a:cubicBezTo>
                    <a:pt x="224402" y="721064"/>
                    <a:pt x="230125" y="715341"/>
                    <a:pt x="230125" y="708273"/>
                  </a:cubicBezTo>
                  <a:cubicBezTo>
                    <a:pt x="230125" y="701205"/>
                    <a:pt x="224402" y="695482"/>
                    <a:pt x="217334" y="695482"/>
                  </a:cubicBezTo>
                  <a:moveTo>
                    <a:pt x="217334" y="736386"/>
                  </a:moveTo>
                  <a:cubicBezTo>
                    <a:pt x="210266" y="736386"/>
                    <a:pt x="204543" y="742109"/>
                    <a:pt x="204543" y="749177"/>
                  </a:cubicBezTo>
                  <a:cubicBezTo>
                    <a:pt x="204543" y="756245"/>
                    <a:pt x="210266" y="761968"/>
                    <a:pt x="217334" y="761968"/>
                  </a:cubicBezTo>
                  <a:cubicBezTo>
                    <a:pt x="224402" y="761968"/>
                    <a:pt x="230125" y="756245"/>
                    <a:pt x="230125" y="749177"/>
                  </a:cubicBezTo>
                  <a:cubicBezTo>
                    <a:pt x="230125" y="742109"/>
                    <a:pt x="224402" y="736386"/>
                    <a:pt x="217334" y="736386"/>
                  </a:cubicBezTo>
                  <a:moveTo>
                    <a:pt x="217334" y="777313"/>
                  </a:moveTo>
                  <a:cubicBezTo>
                    <a:pt x="210266" y="777313"/>
                    <a:pt x="204543" y="783035"/>
                    <a:pt x="204543" y="790104"/>
                  </a:cubicBezTo>
                  <a:cubicBezTo>
                    <a:pt x="204543" y="797172"/>
                    <a:pt x="210266" y="802895"/>
                    <a:pt x="217334" y="802895"/>
                  </a:cubicBezTo>
                  <a:cubicBezTo>
                    <a:pt x="224402" y="802895"/>
                    <a:pt x="230125" y="797172"/>
                    <a:pt x="230125" y="790104"/>
                  </a:cubicBezTo>
                  <a:cubicBezTo>
                    <a:pt x="230125" y="783035"/>
                    <a:pt x="224402" y="777313"/>
                    <a:pt x="217334" y="777313"/>
                  </a:cubicBezTo>
                  <a:moveTo>
                    <a:pt x="217334" y="818217"/>
                  </a:moveTo>
                  <a:cubicBezTo>
                    <a:pt x="210266" y="818217"/>
                    <a:pt x="204543" y="823939"/>
                    <a:pt x="204543" y="831008"/>
                  </a:cubicBezTo>
                  <a:cubicBezTo>
                    <a:pt x="204543" y="838076"/>
                    <a:pt x="210266" y="843799"/>
                    <a:pt x="217334" y="843799"/>
                  </a:cubicBezTo>
                  <a:cubicBezTo>
                    <a:pt x="224402" y="843799"/>
                    <a:pt x="230125" y="838076"/>
                    <a:pt x="230125" y="831008"/>
                  </a:cubicBezTo>
                  <a:cubicBezTo>
                    <a:pt x="230125" y="823939"/>
                    <a:pt x="224402" y="818217"/>
                    <a:pt x="217334" y="818217"/>
                  </a:cubicBezTo>
                  <a:moveTo>
                    <a:pt x="217334" y="859121"/>
                  </a:moveTo>
                  <a:cubicBezTo>
                    <a:pt x="210266" y="859121"/>
                    <a:pt x="204543" y="864843"/>
                    <a:pt x="204543" y="871912"/>
                  </a:cubicBezTo>
                  <a:cubicBezTo>
                    <a:pt x="204543" y="878980"/>
                    <a:pt x="210266" y="884703"/>
                    <a:pt x="217334" y="884703"/>
                  </a:cubicBezTo>
                  <a:cubicBezTo>
                    <a:pt x="224402" y="884703"/>
                    <a:pt x="230125" y="878980"/>
                    <a:pt x="230125" y="871912"/>
                  </a:cubicBezTo>
                  <a:cubicBezTo>
                    <a:pt x="230125" y="864843"/>
                    <a:pt x="224402" y="859121"/>
                    <a:pt x="217334" y="859121"/>
                  </a:cubicBezTo>
                  <a:moveTo>
                    <a:pt x="176430" y="122735"/>
                  </a:moveTo>
                  <a:cubicBezTo>
                    <a:pt x="169362" y="122735"/>
                    <a:pt x="163639" y="128458"/>
                    <a:pt x="163639" y="135526"/>
                  </a:cubicBezTo>
                  <a:cubicBezTo>
                    <a:pt x="163639" y="142594"/>
                    <a:pt x="169362" y="148317"/>
                    <a:pt x="176430" y="148317"/>
                  </a:cubicBezTo>
                  <a:cubicBezTo>
                    <a:pt x="183498" y="148317"/>
                    <a:pt x="189221" y="142594"/>
                    <a:pt x="189221" y="135526"/>
                  </a:cubicBezTo>
                  <a:cubicBezTo>
                    <a:pt x="189221" y="128458"/>
                    <a:pt x="183498" y="122735"/>
                    <a:pt x="176430" y="122735"/>
                  </a:cubicBezTo>
                  <a:moveTo>
                    <a:pt x="176430" y="163639"/>
                  </a:moveTo>
                  <a:cubicBezTo>
                    <a:pt x="169362" y="163639"/>
                    <a:pt x="163639" y="169362"/>
                    <a:pt x="163639" y="176430"/>
                  </a:cubicBezTo>
                  <a:cubicBezTo>
                    <a:pt x="163639" y="183498"/>
                    <a:pt x="169362" y="189221"/>
                    <a:pt x="176430" y="189221"/>
                  </a:cubicBezTo>
                  <a:cubicBezTo>
                    <a:pt x="183498" y="189221"/>
                    <a:pt x="189221" y="183498"/>
                    <a:pt x="189221" y="176430"/>
                  </a:cubicBezTo>
                  <a:cubicBezTo>
                    <a:pt x="189221" y="169362"/>
                    <a:pt x="183498" y="163639"/>
                    <a:pt x="176430" y="163639"/>
                  </a:cubicBezTo>
                  <a:moveTo>
                    <a:pt x="176430" y="204543"/>
                  </a:moveTo>
                  <a:cubicBezTo>
                    <a:pt x="169362" y="204543"/>
                    <a:pt x="163639" y="210266"/>
                    <a:pt x="163639" y="217334"/>
                  </a:cubicBezTo>
                  <a:cubicBezTo>
                    <a:pt x="163639" y="224402"/>
                    <a:pt x="169362" y="230125"/>
                    <a:pt x="176430" y="230125"/>
                  </a:cubicBezTo>
                  <a:cubicBezTo>
                    <a:pt x="183498" y="230125"/>
                    <a:pt x="189221" y="224402"/>
                    <a:pt x="189221" y="217334"/>
                  </a:cubicBezTo>
                  <a:cubicBezTo>
                    <a:pt x="189221" y="210266"/>
                    <a:pt x="183498" y="204543"/>
                    <a:pt x="176430" y="204543"/>
                  </a:cubicBezTo>
                  <a:moveTo>
                    <a:pt x="176430" y="245470"/>
                  </a:moveTo>
                  <a:cubicBezTo>
                    <a:pt x="169362" y="245470"/>
                    <a:pt x="163639" y="251192"/>
                    <a:pt x="163639" y="258261"/>
                  </a:cubicBezTo>
                  <a:cubicBezTo>
                    <a:pt x="163639" y="265329"/>
                    <a:pt x="169362" y="271052"/>
                    <a:pt x="176430" y="271052"/>
                  </a:cubicBezTo>
                  <a:cubicBezTo>
                    <a:pt x="183498" y="271052"/>
                    <a:pt x="189221" y="265329"/>
                    <a:pt x="189221" y="258261"/>
                  </a:cubicBezTo>
                  <a:cubicBezTo>
                    <a:pt x="189221" y="251192"/>
                    <a:pt x="183498" y="245470"/>
                    <a:pt x="176430" y="245470"/>
                  </a:cubicBezTo>
                  <a:moveTo>
                    <a:pt x="176430" y="286374"/>
                  </a:moveTo>
                  <a:cubicBezTo>
                    <a:pt x="169362" y="286374"/>
                    <a:pt x="163639" y="292096"/>
                    <a:pt x="163639" y="299165"/>
                  </a:cubicBezTo>
                  <a:cubicBezTo>
                    <a:pt x="163639" y="306233"/>
                    <a:pt x="169362" y="311956"/>
                    <a:pt x="176430" y="311956"/>
                  </a:cubicBezTo>
                  <a:cubicBezTo>
                    <a:pt x="183498" y="311956"/>
                    <a:pt x="189221" y="306233"/>
                    <a:pt x="189221" y="299165"/>
                  </a:cubicBezTo>
                  <a:cubicBezTo>
                    <a:pt x="189221" y="292096"/>
                    <a:pt x="183498" y="286374"/>
                    <a:pt x="176430" y="286374"/>
                  </a:cubicBezTo>
                  <a:moveTo>
                    <a:pt x="176430" y="327277"/>
                  </a:moveTo>
                  <a:cubicBezTo>
                    <a:pt x="169362" y="327277"/>
                    <a:pt x="163639" y="333000"/>
                    <a:pt x="163639" y="340069"/>
                  </a:cubicBezTo>
                  <a:cubicBezTo>
                    <a:pt x="163639" y="347137"/>
                    <a:pt x="169362" y="352860"/>
                    <a:pt x="176430" y="352860"/>
                  </a:cubicBezTo>
                  <a:cubicBezTo>
                    <a:pt x="183498" y="352860"/>
                    <a:pt x="189221" y="347137"/>
                    <a:pt x="189221" y="340069"/>
                  </a:cubicBezTo>
                  <a:cubicBezTo>
                    <a:pt x="189221" y="333000"/>
                    <a:pt x="183498" y="327277"/>
                    <a:pt x="176430" y="327277"/>
                  </a:cubicBezTo>
                  <a:moveTo>
                    <a:pt x="176430" y="368204"/>
                  </a:moveTo>
                  <a:cubicBezTo>
                    <a:pt x="169362" y="368204"/>
                    <a:pt x="163639" y="373927"/>
                    <a:pt x="163639" y="380995"/>
                  </a:cubicBezTo>
                  <a:cubicBezTo>
                    <a:pt x="163639" y="388063"/>
                    <a:pt x="169362" y="393786"/>
                    <a:pt x="176430" y="393786"/>
                  </a:cubicBezTo>
                  <a:cubicBezTo>
                    <a:pt x="183498" y="393786"/>
                    <a:pt x="189221" y="388063"/>
                    <a:pt x="189221" y="380995"/>
                  </a:cubicBezTo>
                  <a:cubicBezTo>
                    <a:pt x="189221" y="373927"/>
                    <a:pt x="183498" y="368204"/>
                    <a:pt x="176430" y="368204"/>
                  </a:cubicBezTo>
                  <a:moveTo>
                    <a:pt x="176430" y="409108"/>
                  </a:moveTo>
                  <a:cubicBezTo>
                    <a:pt x="169362" y="409108"/>
                    <a:pt x="163639" y="414831"/>
                    <a:pt x="163639" y="421899"/>
                  </a:cubicBezTo>
                  <a:cubicBezTo>
                    <a:pt x="163639" y="428967"/>
                    <a:pt x="169362" y="434690"/>
                    <a:pt x="176430" y="434690"/>
                  </a:cubicBezTo>
                  <a:cubicBezTo>
                    <a:pt x="183498" y="434690"/>
                    <a:pt x="189221" y="428967"/>
                    <a:pt x="189221" y="421899"/>
                  </a:cubicBezTo>
                  <a:cubicBezTo>
                    <a:pt x="189221" y="414831"/>
                    <a:pt x="183498" y="409108"/>
                    <a:pt x="176430" y="409108"/>
                  </a:cubicBezTo>
                  <a:moveTo>
                    <a:pt x="176430" y="450012"/>
                  </a:moveTo>
                  <a:cubicBezTo>
                    <a:pt x="169362" y="450012"/>
                    <a:pt x="163639" y="455735"/>
                    <a:pt x="163639" y="462803"/>
                  </a:cubicBezTo>
                  <a:cubicBezTo>
                    <a:pt x="163639" y="469871"/>
                    <a:pt x="169362" y="475594"/>
                    <a:pt x="176430" y="475594"/>
                  </a:cubicBezTo>
                  <a:cubicBezTo>
                    <a:pt x="183498" y="475594"/>
                    <a:pt x="189221" y="469871"/>
                    <a:pt x="189221" y="462803"/>
                  </a:cubicBezTo>
                  <a:cubicBezTo>
                    <a:pt x="189221" y="455735"/>
                    <a:pt x="183498" y="450012"/>
                    <a:pt x="176430" y="450012"/>
                  </a:cubicBezTo>
                  <a:moveTo>
                    <a:pt x="176430" y="490939"/>
                  </a:moveTo>
                  <a:cubicBezTo>
                    <a:pt x="169362" y="490939"/>
                    <a:pt x="163639" y="496662"/>
                    <a:pt x="163639" y="503730"/>
                  </a:cubicBezTo>
                  <a:cubicBezTo>
                    <a:pt x="163639" y="510798"/>
                    <a:pt x="169362" y="516521"/>
                    <a:pt x="176430" y="516521"/>
                  </a:cubicBezTo>
                  <a:cubicBezTo>
                    <a:pt x="183498" y="516521"/>
                    <a:pt x="189221" y="510798"/>
                    <a:pt x="189221" y="503730"/>
                  </a:cubicBezTo>
                  <a:cubicBezTo>
                    <a:pt x="189221" y="496662"/>
                    <a:pt x="183498" y="490939"/>
                    <a:pt x="176430" y="490939"/>
                  </a:cubicBezTo>
                  <a:moveTo>
                    <a:pt x="176430" y="531843"/>
                  </a:moveTo>
                  <a:cubicBezTo>
                    <a:pt x="169362" y="531843"/>
                    <a:pt x="163639" y="537566"/>
                    <a:pt x="163639" y="544634"/>
                  </a:cubicBezTo>
                  <a:cubicBezTo>
                    <a:pt x="163639" y="551702"/>
                    <a:pt x="169362" y="557425"/>
                    <a:pt x="176430" y="557425"/>
                  </a:cubicBezTo>
                  <a:cubicBezTo>
                    <a:pt x="183498" y="557425"/>
                    <a:pt x="189221" y="551702"/>
                    <a:pt x="189221" y="544634"/>
                  </a:cubicBezTo>
                  <a:cubicBezTo>
                    <a:pt x="189221" y="537566"/>
                    <a:pt x="183498" y="531843"/>
                    <a:pt x="176430" y="531843"/>
                  </a:cubicBezTo>
                  <a:moveTo>
                    <a:pt x="176430" y="572747"/>
                  </a:moveTo>
                  <a:cubicBezTo>
                    <a:pt x="169362" y="572747"/>
                    <a:pt x="163639" y="578470"/>
                    <a:pt x="163639" y="585538"/>
                  </a:cubicBezTo>
                  <a:cubicBezTo>
                    <a:pt x="163639" y="592606"/>
                    <a:pt x="169362" y="598329"/>
                    <a:pt x="176430" y="598329"/>
                  </a:cubicBezTo>
                  <a:cubicBezTo>
                    <a:pt x="183498" y="598329"/>
                    <a:pt x="189221" y="592606"/>
                    <a:pt x="189221" y="585538"/>
                  </a:cubicBezTo>
                  <a:cubicBezTo>
                    <a:pt x="189221" y="578470"/>
                    <a:pt x="183498" y="572747"/>
                    <a:pt x="176430" y="572747"/>
                  </a:cubicBezTo>
                  <a:moveTo>
                    <a:pt x="176430" y="613674"/>
                  </a:moveTo>
                  <a:cubicBezTo>
                    <a:pt x="169362" y="613674"/>
                    <a:pt x="163639" y="619397"/>
                    <a:pt x="163639" y="626465"/>
                  </a:cubicBezTo>
                  <a:cubicBezTo>
                    <a:pt x="163639" y="633533"/>
                    <a:pt x="169362" y="639256"/>
                    <a:pt x="176430" y="639256"/>
                  </a:cubicBezTo>
                  <a:cubicBezTo>
                    <a:pt x="183498" y="639256"/>
                    <a:pt x="189221" y="633533"/>
                    <a:pt x="189221" y="626465"/>
                  </a:cubicBezTo>
                  <a:cubicBezTo>
                    <a:pt x="189221" y="619397"/>
                    <a:pt x="183498" y="613674"/>
                    <a:pt x="176430" y="613674"/>
                  </a:cubicBezTo>
                  <a:moveTo>
                    <a:pt x="176430" y="654578"/>
                  </a:moveTo>
                  <a:cubicBezTo>
                    <a:pt x="169362" y="654578"/>
                    <a:pt x="163639" y="660301"/>
                    <a:pt x="163639" y="667369"/>
                  </a:cubicBezTo>
                  <a:cubicBezTo>
                    <a:pt x="163639" y="674437"/>
                    <a:pt x="169362" y="680160"/>
                    <a:pt x="176430" y="680160"/>
                  </a:cubicBezTo>
                  <a:cubicBezTo>
                    <a:pt x="183498" y="680160"/>
                    <a:pt x="189221" y="674437"/>
                    <a:pt x="189221" y="667369"/>
                  </a:cubicBezTo>
                  <a:cubicBezTo>
                    <a:pt x="189221" y="660301"/>
                    <a:pt x="183498" y="654578"/>
                    <a:pt x="176430" y="654578"/>
                  </a:cubicBezTo>
                  <a:moveTo>
                    <a:pt x="176430" y="695482"/>
                  </a:moveTo>
                  <a:cubicBezTo>
                    <a:pt x="169362" y="695482"/>
                    <a:pt x="163639" y="701205"/>
                    <a:pt x="163639" y="708273"/>
                  </a:cubicBezTo>
                  <a:cubicBezTo>
                    <a:pt x="163639" y="715341"/>
                    <a:pt x="169362" y="721064"/>
                    <a:pt x="176430" y="721064"/>
                  </a:cubicBezTo>
                  <a:cubicBezTo>
                    <a:pt x="183498" y="721064"/>
                    <a:pt x="189221" y="715341"/>
                    <a:pt x="189221" y="708273"/>
                  </a:cubicBezTo>
                  <a:cubicBezTo>
                    <a:pt x="189221" y="701205"/>
                    <a:pt x="183498" y="695482"/>
                    <a:pt x="176430" y="695482"/>
                  </a:cubicBezTo>
                  <a:moveTo>
                    <a:pt x="176430" y="736386"/>
                  </a:moveTo>
                  <a:cubicBezTo>
                    <a:pt x="169362" y="736386"/>
                    <a:pt x="163639" y="742109"/>
                    <a:pt x="163639" y="749177"/>
                  </a:cubicBezTo>
                  <a:cubicBezTo>
                    <a:pt x="163639" y="756245"/>
                    <a:pt x="169362" y="761968"/>
                    <a:pt x="176430" y="761968"/>
                  </a:cubicBezTo>
                  <a:cubicBezTo>
                    <a:pt x="183498" y="761968"/>
                    <a:pt x="189221" y="756245"/>
                    <a:pt x="189221" y="749177"/>
                  </a:cubicBezTo>
                  <a:cubicBezTo>
                    <a:pt x="189221" y="742109"/>
                    <a:pt x="183498" y="736386"/>
                    <a:pt x="176430" y="736386"/>
                  </a:cubicBezTo>
                  <a:moveTo>
                    <a:pt x="176430" y="777313"/>
                  </a:moveTo>
                  <a:cubicBezTo>
                    <a:pt x="169362" y="777313"/>
                    <a:pt x="163639" y="783035"/>
                    <a:pt x="163639" y="790104"/>
                  </a:cubicBezTo>
                  <a:cubicBezTo>
                    <a:pt x="163639" y="797172"/>
                    <a:pt x="169362" y="802895"/>
                    <a:pt x="176430" y="802895"/>
                  </a:cubicBezTo>
                  <a:cubicBezTo>
                    <a:pt x="183498" y="802895"/>
                    <a:pt x="189221" y="797172"/>
                    <a:pt x="189221" y="790104"/>
                  </a:cubicBezTo>
                  <a:cubicBezTo>
                    <a:pt x="189221" y="783035"/>
                    <a:pt x="183498" y="777313"/>
                    <a:pt x="176430" y="777313"/>
                  </a:cubicBezTo>
                  <a:moveTo>
                    <a:pt x="176430" y="818217"/>
                  </a:moveTo>
                  <a:cubicBezTo>
                    <a:pt x="169362" y="818217"/>
                    <a:pt x="163639" y="823939"/>
                    <a:pt x="163639" y="831008"/>
                  </a:cubicBezTo>
                  <a:cubicBezTo>
                    <a:pt x="163639" y="838076"/>
                    <a:pt x="169362" y="843799"/>
                    <a:pt x="176430" y="843799"/>
                  </a:cubicBezTo>
                  <a:cubicBezTo>
                    <a:pt x="183498" y="843799"/>
                    <a:pt x="189221" y="838076"/>
                    <a:pt x="189221" y="831008"/>
                  </a:cubicBezTo>
                  <a:cubicBezTo>
                    <a:pt x="189221" y="823939"/>
                    <a:pt x="183498" y="818217"/>
                    <a:pt x="176430" y="818217"/>
                  </a:cubicBezTo>
                  <a:moveTo>
                    <a:pt x="176430" y="859121"/>
                  </a:moveTo>
                  <a:cubicBezTo>
                    <a:pt x="169362" y="859121"/>
                    <a:pt x="163639" y="864843"/>
                    <a:pt x="163639" y="871912"/>
                  </a:cubicBezTo>
                  <a:cubicBezTo>
                    <a:pt x="163639" y="878980"/>
                    <a:pt x="169362" y="884703"/>
                    <a:pt x="176430" y="884703"/>
                  </a:cubicBezTo>
                  <a:cubicBezTo>
                    <a:pt x="183498" y="884703"/>
                    <a:pt x="189221" y="878980"/>
                    <a:pt x="189221" y="871912"/>
                  </a:cubicBezTo>
                  <a:cubicBezTo>
                    <a:pt x="189221" y="864843"/>
                    <a:pt x="183498" y="859121"/>
                    <a:pt x="176430" y="859121"/>
                  </a:cubicBezTo>
                  <a:moveTo>
                    <a:pt x="135526" y="163639"/>
                  </a:moveTo>
                  <a:cubicBezTo>
                    <a:pt x="128458" y="163639"/>
                    <a:pt x="122735" y="169362"/>
                    <a:pt x="122735" y="176430"/>
                  </a:cubicBezTo>
                  <a:cubicBezTo>
                    <a:pt x="122735" y="183498"/>
                    <a:pt x="128458" y="189221"/>
                    <a:pt x="135526" y="189221"/>
                  </a:cubicBezTo>
                  <a:cubicBezTo>
                    <a:pt x="142594" y="189221"/>
                    <a:pt x="148317" y="183498"/>
                    <a:pt x="148317" y="176430"/>
                  </a:cubicBezTo>
                  <a:cubicBezTo>
                    <a:pt x="148317" y="169362"/>
                    <a:pt x="142594" y="163639"/>
                    <a:pt x="135526" y="163639"/>
                  </a:cubicBezTo>
                  <a:moveTo>
                    <a:pt x="135526" y="204543"/>
                  </a:moveTo>
                  <a:cubicBezTo>
                    <a:pt x="128458" y="204543"/>
                    <a:pt x="122735" y="210266"/>
                    <a:pt x="122735" y="217334"/>
                  </a:cubicBezTo>
                  <a:cubicBezTo>
                    <a:pt x="122735" y="224402"/>
                    <a:pt x="128458" y="230125"/>
                    <a:pt x="135526" y="230125"/>
                  </a:cubicBezTo>
                  <a:cubicBezTo>
                    <a:pt x="142594" y="230125"/>
                    <a:pt x="148317" y="224402"/>
                    <a:pt x="148317" y="217334"/>
                  </a:cubicBezTo>
                  <a:cubicBezTo>
                    <a:pt x="148317" y="210266"/>
                    <a:pt x="142594" y="204543"/>
                    <a:pt x="135526" y="204543"/>
                  </a:cubicBezTo>
                  <a:moveTo>
                    <a:pt x="135526" y="245470"/>
                  </a:moveTo>
                  <a:cubicBezTo>
                    <a:pt x="128458" y="245470"/>
                    <a:pt x="122735" y="251192"/>
                    <a:pt x="122735" y="258261"/>
                  </a:cubicBezTo>
                  <a:cubicBezTo>
                    <a:pt x="122735" y="265329"/>
                    <a:pt x="128458" y="271052"/>
                    <a:pt x="135526" y="271052"/>
                  </a:cubicBezTo>
                  <a:cubicBezTo>
                    <a:pt x="142594" y="271052"/>
                    <a:pt x="148317" y="265329"/>
                    <a:pt x="148317" y="258261"/>
                  </a:cubicBezTo>
                  <a:cubicBezTo>
                    <a:pt x="148317" y="251192"/>
                    <a:pt x="142594" y="245470"/>
                    <a:pt x="135526" y="245470"/>
                  </a:cubicBezTo>
                  <a:moveTo>
                    <a:pt x="135526" y="286374"/>
                  </a:moveTo>
                  <a:cubicBezTo>
                    <a:pt x="128458" y="286374"/>
                    <a:pt x="122735" y="292096"/>
                    <a:pt x="122735" y="299165"/>
                  </a:cubicBezTo>
                  <a:cubicBezTo>
                    <a:pt x="122735" y="306233"/>
                    <a:pt x="128458" y="311956"/>
                    <a:pt x="135526" y="311956"/>
                  </a:cubicBezTo>
                  <a:cubicBezTo>
                    <a:pt x="142594" y="311956"/>
                    <a:pt x="148317" y="306233"/>
                    <a:pt x="148317" y="299165"/>
                  </a:cubicBezTo>
                  <a:cubicBezTo>
                    <a:pt x="148317" y="292096"/>
                    <a:pt x="142594" y="286374"/>
                    <a:pt x="135526" y="286374"/>
                  </a:cubicBezTo>
                  <a:moveTo>
                    <a:pt x="135526" y="327277"/>
                  </a:moveTo>
                  <a:cubicBezTo>
                    <a:pt x="128458" y="327277"/>
                    <a:pt x="122735" y="333000"/>
                    <a:pt x="122735" y="340069"/>
                  </a:cubicBezTo>
                  <a:cubicBezTo>
                    <a:pt x="122735" y="347137"/>
                    <a:pt x="128458" y="352860"/>
                    <a:pt x="135526" y="352860"/>
                  </a:cubicBezTo>
                  <a:cubicBezTo>
                    <a:pt x="142594" y="352860"/>
                    <a:pt x="148317" y="347137"/>
                    <a:pt x="148317" y="340069"/>
                  </a:cubicBezTo>
                  <a:cubicBezTo>
                    <a:pt x="148317" y="333000"/>
                    <a:pt x="142594" y="327277"/>
                    <a:pt x="135526" y="327277"/>
                  </a:cubicBezTo>
                  <a:moveTo>
                    <a:pt x="135526" y="368204"/>
                  </a:moveTo>
                  <a:cubicBezTo>
                    <a:pt x="128458" y="368204"/>
                    <a:pt x="122735" y="373927"/>
                    <a:pt x="122735" y="380995"/>
                  </a:cubicBezTo>
                  <a:cubicBezTo>
                    <a:pt x="122735" y="388063"/>
                    <a:pt x="128458" y="393786"/>
                    <a:pt x="135526" y="393786"/>
                  </a:cubicBezTo>
                  <a:cubicBezTo>
                    <a:pt x="142594" y="393786"/>
                    <a:pt x="148317" y="388063"/>
                    <a:pt x="148317" y="380995"/>
                  </a:cubicBezTo>
                  <a:cubicBezTo>
                    <a:pt x="148317" y="373927"/>
                    <a:pt x="142594" y="368204"/>
                    <a:pt x="135526" y="368204"/>
                  </a:cubicBezTo>
                  <a:moveTo>
                    <a:pt x="135526" y="409108"/>
                  </a:moveTo>
                  <a:cubicBezTo>
                    <a:pt x="128458" y="409108"/>
                    <a:pt x="122735" y="414831"/>
                    <a:pt x="122735" y="421899"/>
                  </a:cubicBezTo>
                  <a:cubicBezTo>
                    <a:pt x="122735" y="428967"/>
                    <a:pt x="128458" y="434690"/>
                    <a:pt x="135526" y="434690"/>
                  </a:cubicBezTo>
                  <a:cubicBezTo>
                    <a:pt x="142594" y="434690"/>
                    <a:pt x="148317" y="428967"/>
                    <a:pt x="148317" y="421899"/>
                  </a:cubicBezTo>
                  <a:cubicBezTo>
                    <a:pt x="148317" y="414831"/>
                    <a:pt x="142594" y="409108"/>
                    <a:pt x="135526" y="409108"/>
                  </a:cubicBezTo>
                  <a:moveTo>
                    <a:pt x="135526" y="450012"/>
                  </a:moveTo>
                  <a:cubicBezTo>
                    <a:pt x="128458" y="450012"/>
                    <a:pt x="122735" y="455735"/>
                    <a:pt x="122735" y="462803"/>
                  </a:cubicBezTo>
                  <a:cubicBezTo>
                    <a:pt x="122735" y="469871"/>
                    <a:pt x="128458" y="475594"/>
                    <a:pt x="135526" y="475594"/>
                  </a:cubicBezTo>
                  <a:cubicBezTo>
                    <a:pt x="142594" y="475594"/>
                    <a:pt x="148317" y="469871"/>
                    <a:pt x="148317" y="462803"/>
                  </a:cubicBezTo>
                  <a:cubicBezTo>
                    <a:pt x="148317" y="455735"/>
                    <a:pt x="142594" y="450012"/>
                    <a:pt x="135526" y="450012"/>
                  </a:cubicBezTo>
                  <a:moveTo>
                    <a:pt x="135526" y="490939"/>
                  </a:moveTo>
                  <a:cubicBezTo>
                    <a:pt x="128458" y="490939"/>
                    <a:pt x="122735" y="496662"/>
                    <a:pt x="122735" y="503730"/>
                  </a:cubicBezTo>
                  <a:cubicBezTo>
                    <a:pt x="122735" y="510798"/>
                    <a:pt x="128458" y="516521"/>
                    <a:pt x="135526" y="516521"/>
                  </a:cubicBezTo>
                  <a:cubicBezTo>
                    <a:pt x="142594" y="516521"/>
                    <a:pt x="148317" y="510798"/>
                    <a:pt x="148317" y="503730"/>
                  </a:cubicBezTo>
                  <a:cubicBezTo>
                    <a:pt x="148317" y="496662"/>
                    <a:pt x="142594" y="490939"/>
                    <a:pt x="135526" y="490939"/>
                  </a:cubicBezTo>
                  <a:moveTo>
                    <a:pt x="135526" y="531843"/>
                  </a:moveTo>
                  <a:cubicBezTo>
                    <a:pt x="128458" y="531843"/>
                    <a:pt x="122735" y="537566"/>
                    <a:pt x="122735" y="544634"/>
                  </a:cubicBezTo>
                  <a:cubicBezTo>
                    <a:pt x="122735" y="551702"/>
                    <a:pt x="128458" y="557425"/>
                    <a:pt x="135526" y="557425"/>
                  </a:cubicBezTo>
                  <a:cubicBezTo>
                    <a:pt x="142594" y="557425"/>
                    <a:pt x="148317" y="551702"/>
                    <a:pt x="148317" y="544634"/>
                  </a:cubicBezTo>
                  <a:cubicBezTo>
                    <a:pt x="148317" y="537566"/>
                    <a:pt x="142594" y="531843"/>
                    <a:pt x="135526" y="531843"/>
                  </a:cubicBezTo>
                  <a:moveTo>
                    <a:pt x="135526" y="572747"/>
                  </a:moveTo>
                  <a:cubicBezTo>
                    <a:pt x="128458" y="572747"/>
                    <a:pt x="122735" y="578470"/>
                    <a:pt x="122735" y="585538"/>
                  </a:cubicBezTo>
                  <a:cubicBezTo>
                    <a:pt x="122735" y="592606"/>
                    <a:pt x="128458" y="598329"/>
                    <a:pt x="135526" y="598329"/>
                  </a:cubicBezTo>
                  <a:cubicBezTo>
                    <a:pt x="142594" y="598329"/>
                    <a:pt x="148317" y="592606"/>
                    <a:pt x="148317" y="585538"/>
                  </a:cubicBezTo>
                  <a:cubicBezTo>
                    <a:pt x="148317" y="578470"/>
                    <a:pt x="142594" y="572747"/>
                    <a:pt x="135526" y="572747"/>
                  </a:cubicBezTo>
                  <a:moveTo>
                    <a:pt x="135526" y="613674"/>
                  </a:moveTo>
                  <a:cubicBezTo>
                    <a:pt x="128458" y="613674"/>
                    <a:pt x="122735" y="619397"/>
                    <a:pt x="122735" y="626465"/>
                  </a:cubicBezTo>
                  <a:cubicBezTo>
                    <a:pt x="122735" y="633533"/>
                    <a:pt x="128458" y="639256"/>
                    <a:pt x="135526" y="639256"/>
                  </a:cubicBezTo>
                  <a:cubicBezTo>
                    <a:pt x="142594" y="639256"/>
                    <a:pt x="148317" y="633533"/>
                    <a:pt x="148317" y="626465"/>
                  </a:cubicBezTo>
                  <a:cubicBezTo>
                    <a:pt x="148317" y="619397"/>
                    <a:pt x="142594" y="613674"/>
                    <a:pt x="135526" y="613674"/>
                  </a:cubicBezTo>
                  <a:moveTo>
                    <a:pt x="135526" y="654578"/>
                  </a:moveTo>
                  <a:cubicBezTo>
                    <a:pt x="128458" y="654578"/>
                    <a:pt x="122735" y="660301"/>
                    <a:pt x="122735" y="667369"/>
                  </a:cubicBezTo>
                  <a:cubicBezTo>
                    <a:pt x="122735" y="674437"/>
                    <a:pt x="128458" y="680160"/>
                    <a:pt x="135526" y="680160"/>
                  </a:cubicBezTo>
                  <a:cubicBezTo>
                    <a:pt x="142594" y="680160"/>
                    <a:pt x="148317" y="674437"/>
                    <a:pt x="148317" y="667369"/>
                  </a:cubicBezTo>
                  <a:cubicBezTo>
                    <a:pt x="148317" y="660301"/>
                    <a:pt x="142594" y="654578"/>
                    <a:pt x="135526" y="654578"/>
                  </a:cubicBezTo>
                  <a:moveTo>
                    <a:pt x="135526" y="695482"/>
                  </a:moveTo>
                  <a:cubicBezTo>
                    <a:pt x="128458" y="695482"/>
                    <a:pt x="122735" y="701205"/>
                    <a:pt x="122735" y="708273"/>
                  </a:cubicBezTo>
                  <a:cubicBezTo>
                    <a:pt x="122735" y="715341"/>
                    <a:pt x="128458" y="721064"/>
                    <a:pt x="135526" y="721064"/>
                  </a:cubicBezTo>
                  <a:cubicBezTo>
                    <a:pt x="142594" y="721064"/>
                    <a:pt x="148317" y="715341"/>
                    <a:pt x="148317" y="708273"/>
                  </a:cubicBezTo>
                  <a:cubicBezTo>
                    <a:pt x="148317" y="701205"/>
                    <a:pt x="142594" y="695482"/>
                    <a:pt x="135526" y="695482"/>
                  </a:cubicBezTo>
                  <a:moveTo>
                    <a:pt x="135526" y="736386"/>
                  </a:moveTo>
                  <a:cubicBezTo>
                    <a:pt x="128458" y="736386"/>
                    <a:pt x="122735" y="742109"/>
                    <a:pt x="122735" y="749177"/>
                  </a:cubicBezTo>
                  <a:cubicBezTo>
                    <a:pt x="122735" y="756245"/>
                    <a:pt x="128458" y="761968"/>
                    <a:pt x="135526" y="761968"/>
                  </a:cubicBezTo>
                  <a:cubicBezTo>
                    <a:pt x="142594" y="761968"/>
                    <a:pt x="148317" y="756245"/>
                    <a:pt x="148317" y="749177"/>
                  </a:cubicBezTo>
                  <a:cubicBezTo>
                    <a:pt x="148317" y="742109"/>
                    <a:pt x="142594" y="736386"/>
                    <a:pt x="135526" y="736386"/>
                  </a:cubicBezTo>
                  <a:moveTo>
                    <a:pt x="135526" y="777313"/>
                  </a:moveTo>
                  <a:cubicBezTo>
                    <a:pt x="128458" y="777313"/>
                    <a:pt x="122735" y="783035"/>
                    <a:pt x="122735" y="790104"/>
                  </a:cubicBezTo>
                  <a:cubicBezTo>
                    <a:pt x="122735" y="797172"/>
                    <a:pt x="128458" y="802895"/>
                    <a:pt x="135526" y="802895"/>
                  </a:cubicBezTo>
                  <a:cubicBezTo>
                    <a:pt x="142594" y="802895"/>
                    <a:pt x="148317" y="797172"/>
                    <a:pt x="148317" y="790104"/>
                  </a:cubicBezTo>
                  <a:cubicBezTo>
                    <a:pt x="148317" y="783035"/>
                    <a:pt x="142594" y="777313"/>
                    <a:pt x="135526" y="777313"/>
                  </a:cubicBezTo>
                  <a:moveTo>
                    <a:pt x="135526" y="818217"/>
                  </a:moveTo>
                  <a:cubicBezTo>
                    <a:pt x="128458" y="818217"/>
                    <a:pt x="122735" y="823939"/>
                    <a:pt x="122735" y="831008"/>
                  </a:cubicBezTo>
                  <a:cubicBezTo>
                    <a:pt x="122735" y="838076"/>
                    <a:pt x="128458" y="843799"/>
                    <a:pt x="135526" y="843799"/>
                  </a:cubicBezTo>
                  <a:cubicBezTo>
                    <a:pt x="142594" y="843799"/>
                    <a:pt x="148317" y="838076"/>
                    <a:pt x="148317" y="831008"/>
                  </a:cubicBezTo>
                  <a:cubicBezTo>
                    <a:pt x="148317" y="823939"/>
                    <a:pt x="142594" y="818217"/>
                    <a:pt x="135526" y="818217"/>
                  </a:cubicBezTo>
                  <a:moveTo>
                    <a:pt x="135526" y="859121"/>
                  </a:moveTo>
                  <a:cubicBezTo>
                    <a:pt x="128458" y="859121"/>
                    <a:pt x="122735" y="864843"/>
                    <a:pt x="122735" y="871912"/>
                  </a:cubicBezTo>
                  <a:cubicBezTo>
                    <a:pt x="122735" y="878980"/>
                    <a:pt x="128458" y="884703"/>
                    <a:pt x="135526" y="884703"/>
                  </a:cubicBezTo>
                  <a:cubicBezTo>
                    <a:pt x="142594" y="884703"/>
                    <a:pt x="148317" y="878980"/>
                    <a:pt x="148317" y="871912"/>
                  </a:cubicBezTo>
                  <a:cubicBezTo>
                    <a:pt x="148317" y="864843"/>
                    <a:pt x="142594" y="859121"/>
                    <a:pt x="135526" y="859121"/>
                  </a:cubicBezTo>
                  <a:moveTo>
                    <a:pt x="94599" y="204543"/>
                  </a:moveTo>
                  <a:cubicBezTo>
                    <a:pt x="87531" y="204543"/>
                    <a:pt x="81808" y="210266"/>
                    <a:pt x="81808" y="217334"/>
                  </a:cubicBezTo>
                  <a:cubicBezTo>
                    <a:pt x="81808" y="224402"/>
                    <a:pt x="87531" y="230125"/>
                    <a:pt x="94599" y="230125"/>
                  </a:cubicBezTo>
                  <a:cubicBezTo>
                    <a:pt x="101667" y="230125"/>
                    <a:pt x="107390" y="224402"/>
                    <a:pt x="107390" y="217334"/>
                  </a:cubicBezTo>
                  <a:cubicBezTo>
                    <a:pt x="107390" y="210266"/>
                    <a:pt x="101667" y="204543"/>
                    <a:pt x="94599" y="204543"/>
                  </a:cubicBezTo>
                  <a:moveTo>
                    <a:pt x="94599" y="245470"/>
                  </a:moveTo>
                  <a:cubicBezTo>
                    <a:pt x="87531" y="245470"/>
                    <a:pt x="81808" y="251192"/>
                    <a:pt x="81808" y="258261"/>
                  </a:cubicBezTo>
                  <a:cubicBezTo>
                    <a:pt x="81808" y="265329"/>
                    <a:pt x="87531" y="271052"/>
                    <a:pt x="94599" y="271052"/>
                  </a:cubicBezTo>
                  <a:cubicBezTo>
                    <a:pt x="101667" y="271052"/>
                    <a:pt x="107390" y="265329"/>
                    <a:pt x="107390" y="258261"/>
                  </a:cubicBezTo>
                  <a:cubicBezTo>
                    <a:pt x="107390" y="251192"/>
                    <a:pt x="101667" y="245470"/>
                    <a:pt x="94599" y="245470"/>
                  </a:cubicBezTo>
                  <a:moveTo>
                    <a:pt x="94599" y="286374"/>
                  </a:moveTo>
                  <a:cubicBezTo>
                    <a:pt x="87531" y="286374"/>
                    <a:pt x="81808" y="292096"/>
                    <a:pt x="81808" y="299165"/>
                  </a:cubicBezTo>
                  <a:cubicBezTo>
                    <a:pt x="81808" y="306233"/>
                    <a:pt x="87531" y="311956"/>
                    <a:pt x="94599" y="311956"/>
                  </a:cubicBezTo>
                  <a:cubicBezTo>
                    <a:pt x="101667" y="311956"/>
                    <a:pt x="107390" y="306233"/>
                    <a:pt x="107390" y="299165"/>
                  </a:cubicBezTo>
                  <a:cubicBezTo>
                    <a:pt x="107390" y="292096"/>
                    <a:pt x="101667" y="286374"/>
                    <a:pt x="94599" y="286374"/>
                  </a:cubicBezTo>
                  <a:moveTo>
                    <a:pt x="94599" y="327277"/>
                  </a:moveTo>
                  <a:cubicBezTo>
                    <a:pt x="87531" y="327277"/>
                    <a:pt x="81808" y="333000"/>
                    <a:pt x="81808" y="340069"/>
                  </a:cubicBezTo>
                  <a:cubicBezTo>
                    <a:pt x="81808" y="347137"/>
                    <a:pt x="87531" y="352860"/>
                    <a:pt x="94599" y="352860"/>
                  </a:cubicBezTo>
                  <a:cubicBezTo>
                    <a:pt x="101667" y="352860"/>
                    <a:pt x="107390" y="347137"/>
                    <a:pt x="107390" y="340069"/>
                  </a:cubicBezTo>
                  <a:cubicBezTo>
                    <a:pt x="107390" y="333000"/>
                    <a:pt x="101667" y="327277"/>
                    <a:pt x="94599" y="327277"/>
                  </a:cubicBezTo>
                  <a:moveTo>
                    <a:pt x="94599" y="368204"/>
                  </a:moveTo>
                  <a:cubicBezTo>
                    <a:pt x="87531" y="368204"/>
                    <a:pt x="81808" y="373927"/>
                    <a:pt x="81808" y="380995"/>
                  </a:cubicBezTo>
                  <a:cubicBezTo>
                    <a:pt x="81808" y="388063"/>
                    <a:pt x="87531" y="393786"/>
                    <a:pt x="94599" y="393786"/>
                  </a:cubicBezTo>
                  <a:cubicBezTo>
                    <a:pt x="101667" y="393786"/>
                    <a:pt x="107390" y="388063"/>
                    <a:pt x="107390" y="380995"/>
                  </a:cubicBezTo>
                  <a:cubicBezTo>
                    <a:pt x="107390" y="373927"/>
                    <a:pt x="101667" y="368204"/>
                    <a:pt x="94599" y="368204"/>
                  </a:cubicBezTo>
                  <a:moveTo>
                    <a:pt x="94599" y="409108"/>
                  </a:moveTo>
                  <a:cubicBezTo>
                    <a:pt x="87531" y="409108"/>
                    <a:pt x="81808" y="414831"/>
                    <a:pt x="81808" y="421899"/>
                  </a:cubicBezTo>
                  <a:cubicBezTo>
                    <a:pt x="81808" y="428967"/>
                    <a:pt x="87531" y="434690"/>
                    <a:pt x="94599" y="434690"/>
                  </a:cubicBezTo>
                  <a:cubicBezTo>
                    <a:pt x="101667" y="434690"/>
                    <a:pt x="107390" y="428967"/>
                    <a:pt x="107390" y="421899"/>
                  </a:cubicBezTo>
                  <a:cubicBezTo>
                    <a:pt x="107390" y="414831"/>
                    <a:pt x="101667" y="409108"/>
                    <a:pt x="94599" y="409108"/>
                  </a:cubicBezTo>
                  <a:moveTo>
                    <a:pt x="94599" y="450012"/>
                  </a:moveTo>
                  <a:cubicBezTo>
                    <a:pt x="87531" y="450012"/>
                    <a:pt x="81808" y="455735"/>
                    <a:pt x="81808" y="462803"/>
                  </a:cubicBezTo>
                  <a:cubicBezTo>
                    <a:pt x="81808" y="469871"/>
                    <a:pt x="87531" y="475594"/>
                    <a:pt x="94599" y="475594"/>
                  </a:cubicBezTo>
                  <a:cubicBezTo>
                    <a:pt x="101667" y="475594"/>
                    <a:pt x="107390" y="469871"/>
                    <a:pt x="107390" y="462803"/>
                  </a:cubicBezTo>
                  <a:cubicBezTo>
                    <a:pt x="107390" y="455735"/>
                    <a:pt x="101667" y="450012"/>
                    <a:pt x="94599" y="450012"/>
                  </a:cubicBezTo>
                  <a:moveTo>
                    <a:pt x="94599" y="490939"/>
                  </a:moveTo>
                  <a:cubicBezTo>
                    <a:pt x="87531" y="490939"/>
                    <a:pt x="81808" y="496662"/>
                    <a:pt x="81808" y="503730"/>
                  </a:cubicBezTo>
                  <a:cubicBezTo>
                    <a:pt x="81808" y="510798"/>
                    <a:pt x="87531" y="516521"/>
                    <a:pt x="94599" y="516521"/>
                  </a:cubicBezTo>
                  <a:cubicBezTo>
                    <a:pt x="101667" y="516521"/>
                    <a:pt x="107390" y="510798"/>
                    <a:pt x="107390" y="503730"/>
                  </a:cubicBezTo>
                  <a:cubicBezTo>
                    <a:pt x="107390" y="496662"/>
                    <a:pt x="101667" y="490939"/>
                    <a:pt x="94599" y="490939"/>
                  </a:cubicBezTo>
                  <a:moveTo>
                    <a:pt x="94599" y="531843"/>
                  </a:moveTo>
                  <a:cubicBezTo>
                    <a:pt x="87531" y="531843"/>
                    <a:pt x="81808" y="537566"/>
                    <a:pt x="81808" y="544634"/>
                  </a:cubicBezTo>
                  <a:cubicBezTo>
                    <a:pt x="81808" y="551702"/>
                    <a:pt x="87531" y="557425"/>
                    <a:pt x="94599" y="557425"/>
                  </a:cubicBezTo>
                  <a:cubicBezTo>
                    <a:pt x="101667" y="557425"/>
                    <a:pt x="107390" y="551702"/>
                    <a:pt x="107390" y="544634"/>
                  </a:cubicBezTo>
                  <a:cubicBezTo>
                    <a:pt x="107390" y="537566"/>
                    <a:pt x="101667" y="531843"/>
                    <a:pt x="94599" y="531843"/>
                  </a:cubicBezTo>
                  <a:moveTo>
                    <a:pt x="94599" y="572747"/>
                  </a:moveTo>
                  <a:cubicBezTo>
                    <a:pt x="87531" y="572747"/>
                    <a:pt x="81808" y="578470"/>
                    <a:pt x="81808" y="585538"/>
                  </a:cubicBezTo>
                  <a:cubicBezTo>
                    <a:pt x="81808" y="592606"/>
                    <a:pt x="87531" y="598329"/>
                    <a:pt x="94599" y="598329"/>
                  </a:cubicBezTo>
                  <a:cubicBezTo>
                    <a:pt x="101667" y="598329"/>
                    <a:pt x="107390" y="592606"/>
                    <a:pt x="107390" y="585538"/>
                  </a:cubicBezTo>
                  <a:cubicBezTo>
                    <a:pt x="107390" y="578470"/>
                    <a:pt x="101667" y="572747"/>
                    <a:pt x="94599" y="572747"/>
                  </a:cubicBezTo>
                  <a:moveTo>
                    <a:pt x="94599" y="613674"/>
                  </a:moveTo>
                  <a:cubicBezTo>
                    <a:pt x="87531" y="613674"/>
                    <a:pt x="81808" y="619397"/>
                    <a:pt x="81808" y="626465"/>
                  </a:cubicBezTo>
                  <a:cubicBezTo>
                    <a:pt x="81808" y="633533"/>
                    <a:pt x="87531" y="639256"/>
                    <a:pt x="94599" y="639256"/>
                  </a:cubicBezTo>
                  <a:cubicBezTo>
                    <a:pt x="101667" y="639256"/>
                    <a:pt x="107390" y="633533"/>
                    <a:pt x="107390" y="626465"/>
                  </a:cubicBezTo>
                  <a:cubicBezTo>
                    <a:pt x="107390" y="619397"/>
                    <a:pt x="101667" y="613674"/>
                    <a:pt x="94599" y="613674"/>
                  </a:cubicBezTo>
                  <a:moveTo>
                    <a:pt x="94599" y="654578"/>
                  </a:moveTo>
                  <a:cubicBezTo>
                    <a:pt x="87531" y="654578"/>
                    <a:pt x="81808" y="660301"/>
                    <a:pt x="81808" y="667369"/>
                  </a:cubicBezTo>
                  <a:cubicBezTo>
                    <a:pt x="81808" y="674437"/>
                    <a:pt x="87531" y="680160"/>
                    <a:pt x="94599" y="680160"/>
                  </a:cubicBezTo>
                  <a:cubicBezTo>
                    <a:pt x="101667" y="680160"/>
                    <a:pt x="107390" y="674437"/>
                    <a:pt x="107390" y="667369"/>
                  </a:cubicBezTo>
                  <a:cubicBezTo>
                    <a:pt x="107390" y="660301"/>
                    <a:pt x="101667" y="654578"/>
                    <a:pt x="94599" y="654578"/>
                  </a:cubicBezTo>
                  <a:moveTo>
                    <a:pt x="94599" y="695482"/>
                  </a:moveTo>
                  <a:cubicBezTo>
                    <a:pt x="87531" y="695482"/>
                    <a:pt x="81808" y="701205"/>
                    <a:pt x="81808" y="708273"/>
                  </a:cubicBezTo>
                  <a:cubicBezTo>
                    <a:pt x="81808" y="715341"/>
                    <a:pt x="87531" y="721064"/>
                    <a:pt x="94599" y="721064"/>
                  </a:cubicBezTo>
                  <a:cubicBezTo>
                    <a:pt x="101667" y="721064"/>
                    <a:pt x="107390" y="715341"/>
                    <a:pt x="107390" y="708273"/>
                  </a:cubicBezTo>
                  <a:cubicBezTo>
                    <a:pt x="107390" y="701205"/>
                    <a:pt x="101667" y="695482"/>
                    <a:pt x="94599" y="695482"/>
                  </a:cubicBezTo>
                  <a:moveTo>
                    <a:pt x="94599" y="736386"/>
                  </a:moveTo>
                  <a:cubicBezTo>
                    <a:pt x="87531" y="736386"/>
                    <a:pt x="81808" y="742109"/>
                    <a:pt x="81808" y="749177"/>
                  </a:cubicBezTo>
                  <a:cubicBezTo>
                    <a:pt x="81808" y="756245"/>
                    <a:pt x="87531" y="761968"/>
                    <a:pt x="94599" y="761968"/>
                  </a:cubicBezTo>
                  <a:cubicBezTo>
                    <a:pt x="101667" y="761968"/>
                    <a:pt x="107390" y="756245"/>
                    <a:pt x="107390" y="749177"/>
                  </a:cubicBezTo>
                  <a:cubicBezTo>
                    <a:pt x="107390" y="742109"/>
                    <a:pt x="101667" y="736386"/>
                    <a:pt x="94599" y="736386"/>
                  </a:cubicBezTo>
                  <a:moveTo>
                    <a:pt x="94599" y="777313"/>
                  </a:moveTo>
                  <a:cubicBezTo>
                    <a:pt x="87531" y="777313"/>
                    <a:pt x="81808" y="783035"/>
                    <a:pt x="81808" y="790104"/>
                  </a:cubicBezTo>
                  <a:cubicBezTo>
                    <a:pt x="81808" y="797172"/>
                    <a:pt x="87531" y="802895"/>
                    <a:pt x="94599" y="802895"/>
                  </a:cubicBezTo>
                  <a:cubicBezTo>
                    <a:pt x="101667" y="802895"/>
                    <a:pt x="107390" y="797172"/>
                    <a:pt x="107390" y="790104"/>
                  </a:cubicBezTo>
                  <a:cubicBezTo>
                    <a:pt x="107390" y="783035"/>
                    <a:pt x="101667" y="777313"/>
                    <a:pt x="94599" y="777313"/>
                  </a:cubicBezTo>
                  <a:moveTo>
                    <a:pt x="94599" y="818217"/>
                  </a:moveTo>
                  <a:cubicBezTo>
                    <a:pt x="87531" y="818217"/>
                    <a:pt x="81808" y="823939"/>
                    <a:pt x="81808" y="831008"/>
                  </a:cubicBezTo>
                  <a:cubicBezTo>
                    <a:pt x="81808" y="838076"/>
                    <a:pt x="87531" y="843799"/>
                    <a:pt x="94599" y="843799"/>
                  </a:cubicBezTo>
                  <a:cubicBezTo>
                    <a:pt x="101667" y="843799"/>
                    <a:pt x="107390" y="838076"/>
                    <a:pt x="107390" y="831008"/>
                  </a:cubicBezTo>
                  <a:cubicBezTo>
                    <a:pt x="107390" y="823939"/>
                    <a:pt x="101667" y="818217"/>
                    <a:pt x="94599" y="818217"/>
                  </a:cubicBezTo>
                  <a:moveTo>
                    <a:pt x="94599" y="859121"/>
                  </a:moveTo>
                  <a:cubicBezTo>
                    <a:pt x="87531" y="859121"/>
                    <a:pt x="81808" y="864843"/>
                    <a:pt x="81808" y="871912"/>
                  </a:cubicBezTo>
                  <a:cubicBezTo>
                    <a:pt x="81808" y="878980"/>
                    <a:pt x="87531" y="884703"/>
                    <a:pt x="94599" y="884703"/>
                  </a:cubicBezTo>
                  <a:cubicBezTo>
                    <a:pt x="101667" y="884703"/>
                    <a:pt x="107390" y="878980"/>
                    <a:pt x="107390" y="871912"/>
                  </a:cubicBezTo>
                  <a:cubicBezTo>
                    <a:pt x="107390" y="864843"/>
                    <a:pt x="101667" y="859121"/>
                    <a:pt x="94599" y="859121"/>
                  </a:cubicBezTo>
                  <a:moveTo>
                    <a:pt x="53695" y="245470"/>
                  </a:moveTo>
                  <a:cubicBezTo>
                    <a:pt x="46627" y="245470"/>
                    <a:pt x="40904" y="251192"/>
                    <a:pt x="40904" y="258261"/>
                  </a:cubicBezTo>
                  <a:cubicBezTo>
                    <a:pt x="40904" y="265329"/>
                    <a:pt x="46627" y="271052"/>
                    <a:pt x="53695" y="271052"/>
                  </a:cubicBezTo>
                  <a:cubicBezTo>
                    <a:pt x="60763" y="271052"/>
                    <a:pt x="66486" y="265329"/>
                    <a:pt x="66486" y="258261"/>
                  </a:cubicBezTo>
                  <a:cubicBezTo>
                    <a:pt x="66486" y="251192"/>
                    <a:pt x="60763" y="245470"/>
                    <a:pt x="53695" y="245470"/>
                  </a:cubicBezTo>
                  <a:moveTo>
                    <a:pt x="53695" y="286374"/>
                  </a:moveTo>
                  <a:cubicBezTo>
                    <a:pt x="46627" y="286374"/>
                    <a:pt x="40904" y="292096"/>
                    <a:pt x="40904" y="299165"/>
                  </a:cubicBezTo>
                  <a:cubicBezTo>
                    <a:pt x="40904" y="306233"/>
                    <a:pt x="46627" y="311956"/>
                    <a:pt x="53695" y="311956"/>
                  </a:cubicBezTo>
                  <a:cubicBezTo>
                    <a:pt x="60763" y="311956"/>
                    <a:pt x="66486" y="306233"/>
                    <a:pt x="66486" y="299165"/>
                  </a:cubicBezTo>
                  <a:cubicBezTo>
                    <a:pt x="66486" y="292096"/>
                    <a:pt x="60763" y="286374"/>
                    <a:pt x="53695" y="286374"/>
                  </a:cubicBezTo>
                  <a:moveTo>
                    <a:pt x="53695" y="327277"/>
                  </a:moveTo>
                  <a:cubicBezTo>
                    <a:pt x="46627" y="327277"/>
                    <a:pt x="40904" y="333000"/>
                    <a:pt x="40904" y="340069"/>
                  </a:cubicBezTo>
                  <a:cubicBezTo>
                    <a:pt x="40904" y="347137"/>
                    <a:pt x="46627" y="352860"/>
                    <a:pt x="53695" y="352860"/>
                  </a:cubicBezTo>
                  <a:cubicBezTo>
                    <a:pt x="60763" y="352860"/>
                    <a:pt x="66486" y="347137"/>
                    <a:pt x="66486" y="340069"/>
                  </a:cubicBezTo>
                  <a:cubicBezTo>
                    <a:pt x="66486" y="333000"/>
                    <a:pt x="60763" y="327277"/>
                    <a:pt x="53695" y="327277"/>
                  </a:cubicBezTo>
                  <a:moveTo>
                    <a:pt x="53695" y="368204"/>
                  </a:moveTo>
                  <a:cubicBezTo>
                    <a:pt x="46627" y="368204"/>
                    <a:pt x="40904" y="373927"/>
                    <a:pt x="40904" y="380995"/>
                  </a:cubicBezTo>
                  <a:cubicBezTo>
                    <a:pt x="40904" y="388063"/>
                    <a:pt x="46627" y="393786"/>
                    <a:pt x="53695" y="393786"/>
                  </a:cubicBezTo>
                  <a:cubicBezTo>
                    <a:pt x="60763" y="393786"/>
                    <a:pt x="66486" y="388063"/>
                    <a:pt x="66486" y="380995"/>
                  </a:cubicBezTo>
                  <a:cubicBezTo>
                    <a:pt x="66486" y="373927"/>
                    <a:pt x="60763" y="368204"/>
                    <a:pt x="53695" y="368204"/>
                  </a:cubicBezTo>
                  <a:moveTo>
                    <a:pt x="53695" y="409108"/>
                  </a:moveTo>
                  <a:cubicBezTo>
                    <a:pt x="46627" y="409108"/>
                    <a:pt x="40904" y="414831"/>
                    <a:pt x="40904" y="421899"/>
                  </a:cubicBezTo>
                  <a:cubicBezTo>
                    <a:pt x="40904" y="428967"/>
                    <a:pt x="46627" y="434690"/>
                    <a:pt x="53695" y="434690"/>
                  </a:cubicBezTo>
                  <a:cubicBezTo>
                    <a:pt x="60763" y="434690"/>
                    <a:pt x="66486" y="428967"/>
                    <a:pt x="66486" y="421899"/>
                  </a:cubicBezTo>
                  <a:cubicBezTo>
                    <a:pt x="66486" y="414831"/>
                    <a:pt x="60763" y="409108"/>
                    <a:pt x="53695" y="409108"/>
                  </a:cubicBezTo>
                  <a:moveTo>
                    <a:pt x="53695" y="450012"/>
                  </a:moveTo>
                  <a:cubicBezTo>
                    <a:pt x="46627" y="450012"/>
                    <a:pt x="40904" y="455735"/>
                    <a:pt x="40904" y="462803"/>
                  </a:cubicBezTo>
                  <a:cubicBezTo>
                    <a:pt x="40904" y="469871"/>
                    <a:pt x="46627" y="475594"/>
                    <a:pt x="53695" y="475594"/>
                  </a:cubicBezTo>
                  <a:cubicBezTo>
                    <a:pt x="60763" y="475594"/>
                    <a:pt x="66486" y="469871"/>
                    <a:pt x="66486" y="462803"/>
                  </a:cubicBezTo>
                  <a:cubicBezTo>
                    <a:pt x="66486" y="455735"/>
                    <a:pt x="60763" y="450012"/>
                    <a:pt x="53695" y="450012"/>
                  </a:cubicBezTo>
                  <a:moveTo>
                    <a:pt x="53695" y="490939"/>
                  </a:moveTo>
                  <a:cubicBezTo>
                    <a:pt x="46627" y="490939"/>
                    <a:pt x="40904" y="496662"/>
                    <a:pt x="40904" y="503730"/>
                  </a:cubicBezTo>
                  <a:cubicBezTo>
                    <a:pt x="40904" y="510798"/>
                    <a:pt x="46627" y="516521"/>
                    <a:pt x="53695" y="516521"/>
                  </a:cubicBezTo>
                  <a:cubicBezTo>
                    <a:pt x="60763" y="516521"/>
                    <a:pt x="66486" y="510798"/>
                    <a:pt x="66486" y="503730"/>
                  </a:cubicBezTo>
                  <a:cubicBezTo>
                    <a:pt x="66486" y="496662"/>
                    <a:pt x="60763" y="490939"/>
                    <a:pt x="53695" y="490939"/>
                  </a:cubicBezTo>
                  <a:moveTo>
                    <a:pt x="53695" y="531843"/>
                  </a:moveTo>
                  <a:cubicBezTo>
                    <a:pt x="46627" y="531843"/>
                    <a:pt x="40904" y="537566"/>
                    <a:pt x="40904" y="544634"/>
                  </a:cubicBezTo>
                  <a:cubicBezTo>
                    <a:pt x="40904" y="551702"/>
                    <a:pt x="46627" y="557425"/>
                    <a:pt x="53695" y="557425"/>
                  </a:cubicBezTo>
                  <a:cubicBezTo>
                    <a:pt x="60763" y="557425"/>
                    <a:pt x="66486" y="551702"/>
                    <a:pt x="66486" y="544634"/>
                  </a:cubicBezTo>
                  <a:cubicBezTo>
                    <a:pt x="66486" y="537566"/>
                    <a:pt x="60763" y="531843"/>
                    <a:pt x="53695" y="531843"/>
                  </a:cubicBezTo>
                  <a:moveTo>
                    <a:pt x="53695" y="572747"/>
                  </a:moveTo>
                  <a:cubicBezTo>
                    <a:pt x="46627" y="572747"/>
                    <a:pt x="40904" y="578470"/>
                    <a:pt x="40904" y="585538"/>
                  </a:cubicBezTo>
                  <a:cubicBezTo>
                    <a:pt x="40904" y="592606"/>
                    <a:pt x="46627" y="598329"/>
                    <a:pt x="53695" y="598329"/>
                  </a:cubicBezTo>
                  <a:cubicBezTo>
                    <a:pt x="60763" y="598329"/>
                    <a:pt x="66486" y="592606"/>
                    <a:pt x="66486" y="585538"/>
                  </a:cubicBezTo>
                  <a:cubicBezTo>
                    <a:pt x="66486" y="578470"/>
                    <a:pt x="60763" y="572747"/>
                    <a:pt x="53695" y="572747"/>
                  </a:cubicBezTo>
                  <a:moveTo>
                    <a:pt x="53695" y="613674"/>
                  </a:moveTo>
                  <a:cubicBezTo>
                    <a:pt x="46627" y="613674"/>
                    <a:pt x="40904" y="619397"/>
                    <a:pt x="40904" y="626465"/>
                  </a:cubicBezTo>
                  <a:cubicBezTo>
                    <a:pt x="40904" y="633533"/>
                    <a:pt x="46627" y="639256"/>
                    <a:pt x="53695" y="639256"/>
                  </a:cubicBezTo>
                  <a:cubicBezTo>
                    <a:pt x="60763" y="639256"/>
                    <a:pt x="66486" y="633533"/>
                    <a:pt x="66486" y="626465"/>
                  </a:cubicBezTo>
                  <a:cubicBezTo>
                    <a:pt x="66486" y="619397"/>
                    <a:pt x="60763" y="613674"/>
                    <a:pt x="53695" y="613674"/>
                  </a:cubicBezTo>
                  <a:moveTo>
                    <a:pt x="53695" y="654578"/>
                  </a:moveTo>
                  <a:cubicBezTo>
                    <a:pt x="46627" y="654578"/>
                    <a:pt x="40904" y="660301"/>
                    <a:pt x="40904" y="667369"/>
                  </a:cubicBezTo>
                  <a:cubicBezTo>
                    <a:pt x="40904" y="674437"/>
                    <a:pt x="46627" y="680160"/>
                    <a:pt x="53695" y="680160"/>
                  </a:cubicBezTo>
                  <a:cubicBezTo>
                    <a:pt x="60763" y="680160"/>
                    <a:pt x="66486" y="674437"/>
                    <a:pt x="66486" y="667369"/>
                  </a:cubicBezTo>
                  <a:cubicBezTo>
                    <a:pt x="66486" y="660301"/>
                    <a:pt x="60763" y="654578"/>
                    <a:pt x="53695" y="654578"/>
                  </a:cubicBezTo>
                  <a:moveTo>
                    <a:pt x="53695" y="695482"/>
                  </a:moveTo>
                  <a:cubicBezTo>
                    <a:pt x="46627" y="695482"/>
                    <a:pt x="40904" y="701205"/>
                    <a:pt x="40904" y="708273"/>
                  </a:cubicBezTo>
                  <a:cubicBezTo>
                    <a:pt x="40904" y="715341"/>
                    <a:pt x="46627" y="721064"/>
                    <a:pt x="53695" y="721064"/>
                  </a:cubicBezTo>
                  <a:cubicBezTo>
                    <a:pt x="60763" y="721064"/>
                    <a:pt x="66486" y="715341"/>
                    <a:pt x="66486" y="708273"/>
                  </a:cubicBezTo>
                  <a:cubicBezTo>
                    <a:pt x="66486" y="701205"/>
                    <a:pt x="60763" y="695482"/>
                    <a:pt x="53695" y="695482"/>
                  </a:cubicBezTo>
                  <a:moveTo>
                    <a:pt x="53695" y="736386"/>
                  </a:moveTo>
                  <a:cubicBezTo>
                    <a:pt x="46627" y="736386"/>
                    <a:pt x="40904" y="742109"/>
                    <a:pt x="40904" y="749177"/>
                  </a:cubicBezTo>
                  <a:cubicBezTo>
                    <a:pt x="40904" y="756245"/>
                    <a:pt x="46627" y="761968"/>
                    <a:pt x="53695" y="761968"/>
                  </a:cubicBezTo>
                  <a:cubicBezTo>
                    <a:pt x="60763" y="761968"/>
                    <a:pt x="66486" y="756245"/>
                    <a:pt x="66486" y="749177"/>
                  </a:cubicBezTo>
                  <a:cubicBezTo>
                    <a:pt x="66486" y="742109"/>
                    <a:pt x="60763" y="736386"/>
                    <a:pt x="53695" y="736386"/>
                  </a:cubicBezTo>
                  <a:moveTo>
                    <a:pt x="53695" y="777313"/>
                  </a:moveTo>
                  <a:cubicBezTo>
                    <a:pt x="46627" y="777313"/>
                    <a:pt x="40904" y="783035"/>
                    <a:pt x="40904" y="790104"/>
                  </a:cubicBezTo>
                  <a:cubicBezTo>
                    <a:pt x="40904" y="797172"/>
                    <a:pt x="46627" y="802895"/>
                    <a:pt x="53695" y="802895"/>
                  </a:cubicBezTo>
                  <a:cubicBezTo>
                    <a:pt x="60763" y="802895"/>
                    <a:pt x="66486" y="797172"/>
                    <a:pt x="66486" y="790104"/>
                  </a:cubicBezTo>
                  <a:cubicBezTo>
                    <a:pt x="66486" y="783035"/>
                    <a:pt x="60763" y="777313"/>
                    <a:pt x="53695" y="777313"/>
                  </a:cubicBezTo>
                  <a:moveTo>
                    <a:pt x="53695" y="818217"/>
                  </a:moveTo>
                  <a:cubicBezTo>
                    <a:pt x="46627" y="818217"/>
                    <a:pt x="40904" y="823939"/>
                    <a:pt x="40904" y="831008"/>
                  </a:cubicBezTo>
                  <a:cubicBezTo>
                    <a:pt x="40904" y="838076"/>
                    <a:pt x="46627" y="843799"/>
                    <a:pt x="53695" y="843799"/>
                  </a:cubicBezTo>
                  <a:cubicBezTo>
                    <a:pt x="60763" y="843799"/>
                    <a:pt x="66486" y="838076"/>
                    <a:pt x="66486" y="831008"/>
                  </a:cubicBezTo>
                  <a:cubicBezTo>
                    <a:pt x="66486" y="823939"/>
                    <a:pt x="60763" y="818217"/>
                    <a:pt x="53695" y="818217"/>
                  </a:cubicBezTo>
                  <a:moveTo>
                    <a:pt x="53695" y="859121"/>
                  </a:moveTo>
                  <a:cubicBezTo>
                    <a:pt x="46627" y="859121"/>
                    <a:pt x="40904" y="864843"/>
                    <a:pt x="40904" y="871912"/>
                  </a:cubicBezTo>
                  <a:cubicBezTo>
                    <a:pt x="40904" y="878980"/>
                    <a:pt x="46627" y="884703"/>
                    <a:pt x="53695" y="884703"/>
                  </a:cubicBezTo>
                  <a:cubicBezTo>
                    <a:pt x="60763" y="884703"/>
                    <a:pt x="66486" y="878980"/>
                    <a:pt x="66486" y="871912"/>
                  </a:cubicBezTo>
                  <a:cubicBezTo>
                    <a:pt x="66486" y="864843"/>
                    <a:pt x="60763" y="859121"/>
                    <a:pt x="53695" y="859121"/>
                  </a:cubicBezTo>
                  <a:moveTo>
                    <a:pt x="12791" y="286374"/>
                  </a:moveTo>
                  <a:cubicBezTo>
                    <a:pt x="5723" y="286374"/>
                    <a:pt x="0" y="292096"/>
                    <a:pt x="0" y="299165"/>
                  </a:cubicBezTo>
                  <a:cubicBezTo>
                    <a:pt x="0" y="306233"/>
                    <a:pt x="5723" y="311956"/>
                    <a:pt x="12791" y="311956"/>
                  </a:cubicBezTo>
                  <a:cubicBezTo>
                    <a:pt x="19859" y="311956"/>
                    <a:pt x="25582" y="306233"/>
                    <a:pt x="25582" y="299165"/>
                  </a:cubicBezTo>
                  <a:cubicBezTo>
                    <a:pt x="25582" y="292096"/>
                    <a:pt x="19859" y="286374"/>
                    <a:pt x="12791" y="286374"/>
                  </a:cubicBezTo>
                  <a:moveTo>
                    <a:pt x="12791" y="327277"/>
                  </a:moveTo>
                  <a:cubicBezTo>
                    <a:pt x="5723" y="327277"/>
                    <a:pt x="0" y="333000"/>
                    <a:pt x="0" y="340069"/>
                  </a:cubicBezTo>
                  <a:cubicBezTo>
                    <a:pt x="0" y="347137"/>
                    <a:pt x="5723" y="352860"/>
                    <a:pt x="12791" y="352860"/>
                  </a:cubicBezTo>
                  <a:cubicBezTo>
                    <a:pt x="19859" y="352860"/>
                    <a:pt x="25582" y="347137"/>
                    <a:pt x="25582" y="340069"/>
                  </a:cubicBezTo>
                  <a:cubicBezTo>
                    <a:pt x="25582" y="333000"/>
                    <a:pt x="19859" y="327277"/>
                    <a:pt x="12791" y="327277"/>
                  </a:cubicBezTo>
                  <a:moveTo>
                    <a:pt x="12791" y="368204"/>
                  </a:moveTo>
                  <a:cubicBezTo>
                    <a:pt x="5723" y="368204"/>
                    <a:pt x="0" y="373927"/>
                    <a:pt x="0" y="380973"/>
                  </a:cubicBezTo>
                  <a:cubicBezTo>
                    <a:pt x="0" y="388018"/>
                    <a:pt x="5723" y="393764"/>
                    <a:pt x="12791" y="393764"/>
                  </a:cubicBezTo>
                  <a:cubicBezTo>
                    <a:pt x="19859" y="393764"/>
                    <a:pt x="25582" y="388041"/>
                    <a:pt x="25582" y="380973"/>
                  </a:cubicBezTo>
                  <a:cubicBezTo>
                    <a:pt x="25582" y="373904"/>
                    <a:pt x="19859" y="368181"/>
                    <a:pt x="12791" y="368181"/>
                  </a:cubicBezTo>
                  <a:moveTo>
                    <a:pt x="12791" y="409108"/>
                  </a:moveTo>
                  <a:cubicBezTo>
                    <a:pt x="5723" y="409108"/>
                    <a:pt x="0" y="414831"/>
                    <a:pt x="0" y="421899"/>
                  </a:cubicBezTo>
                  <a:cubicBezTo>
                    <a:pt x="0" y="428967"/>
                    <a:pt x="5723" y="434690"/>
                    <a:pt x="12791" y="434690"/>
                  </a:cubicBezTo>
                  <a:cubicBezTo>
                    <a:pt x="19859" y="434690"/>
                    <a:pt x="25582" y="428967"/>
                    <a:pt x="25582" y="421899"/>
                  </a:cubicBezTo>
                  <a:cubicBezTo>
                    <a:pt x="25582" y="414831"/>
                    <a:pt x="19859" y="409108"/>
                    <a:pt x="12791" y="409108"/>
                  </a:cubicBezTo>
                  <a:moveTo>
                    <a:pt x="12791" y="450012"/>
                  </a:moveTo>
                  <a:cubicBezTo>
                    <a:pt x="5723" y="450012"/>
                    <a:pt x="0" y="455735"/>
                    <a:pt x="0" y="462803"/>
                  </a:cubicBezTo>
                  <a:cubicBezTo>
                    <a:pt x="0" y="469871"/>
                    <a:pt x="5723" y="475594"/>
                    <a:pt x="12791" y="475594"/>
                  </a:cubicBezTo>
                  <a:cubicBezTo>
                    <a:pt x="19859" y="475594"/>
                    <a:pt x="25582" y="469871"/>
                    <a:pt x="25582" y="462803"/>
                  </a:cubicBezTo>
                  <a:cubicBezTo>
                    <a:pt x="25582" y="455735"/>
                    <a:pt x="19859" y="450012"/>
                    <a:pt x="12791" y="450012"/>
                  </a:cubicBezTo>
                  <a:moveTo>
                    <a:pt x="12791" y="490939"/>
                  </a:moveTo>
                  <a:cubicBezTo>
                    <a:pt x="5723" y="490939"/>
                    <a:pt x="0" y="496662"/>
                    <a:pt x="0" y="503707"/>
                  </a:cubicBezTo>
                  <a:cubicBezTo>
                    <a:pt x="0" y="510753"/>
                    <a:pt x="5723" y="516498"/>
                    <a:pt x="12791" y="516498"/>
                  </a:cubicBezTo>
                  <a:cubicBezTo>
                    <a:pt x="19859" y="516498"/>
                    <a:pt x="25582" y="510775"/>
                    <a:pt x="25582" y="503707"/>
                  </a:cubicBezTo>
                  <a:cubicBezTo>
                    <a:pt x="25582" y="496639"/>
                    <a:pt x="19859" y="490916"/>
                    <a:pt x="12791" y="490916"/>
                  </a:cubicBezTo>
                  <a:moveTo>
                    <a:pt x="12791" y="531843"/>
                  </a:moveTo>
                  <a:cubicBezTo>
                    <a:pt x="5723" y="531843"/>
                    <a:pt x="0" y="537566"/>
                    <a:pt x="0" y="544634"/>
                  </a:cubicBezTo>
                  <a:cubicBezTo>
                    <a:pt x="0" y="551702"/>
                    <a:pt x="5723" y="557425"/>
                    <a:pt x="12791" y="557425"/>
                  </a:cubicBezTo>
                  <a:cubicBezTo>
                    <a:pt x="19859" y="557425"/>
                    <a:pt x="25582" y="551702"/>
                    <a:pt x="25582" y="544634"/>
                  </a:cubicBezTo>
                  <a:cubicBezTo>
                    <a:pt x="25582" y="537566"/>
                    <a:pt x="19859" y="531843"/>
                    <a:pt x="12791" y="531843"/>
                  </a:cubicBezTo>
                  <a:moveTo>
                    <a:pt x="12791" y="572747"/>
                  </a:moveTo>
                  <a:cubicBezTo>
                    <a:pt x="5723" y="572747"/>
                    <a:pt x="0" y="578470"/>
                    <a:pt x="0" y="585538"/>
                  </a:cubicBezTo>
                  <a:cubicBezTo>
                    <a:pt x="0" y="592606"/>
                    <a:pt x="5723" y="598329"/>
                    <a:pt x="12791" y="598329"/>
                  </a:cubicBezTo>
                  <a:cubicBezTo>
                    <a:pt x="19859" y="598329"/>
                    <a:pt x="25582" y="592606"/>
                    <a:pt x="25582" y="585538"/>
                  </a:cubicBezTo>
                  <a:cubicBezTo>
                    <a:pt x="25582" y="578470"/>
                    <a:pt x="19859" y="572747"/>
                    <a:pt x="12791" y="572747"/>
                  </a:cubicBezTo>
                  <a:moveTo>
                    <a:pt x="12791" y="613674"/>
                  </a:moveTo>
                  <a:cubicBezTo>
                    <a:pt x="5723" y="613674"/>
                    <a:pt x="0" y="619397"/>
                    <a:pt x="0" y="626442"/>
                  </a:cubicBezTo>
                  <a:cubicBezTo>
                    <a:pt x="0" y="633487"/>
                    <a:pt x="5723" y="639233"/>
                    <a:pt x="12791" y="639233"/>
                  </a:cubicBezTo>
                  <a:cubicBezTo>
                    <a:pt x="19859" y="639233"/>
                    <a:pt x="25582" y="633510"/>
                    <a:pt x="25582" y="626442"/>
                  </a:cubicBezTo>
                  <a:cubicBezTo>
                    <a:pt x="25582" y="619374"/>
                    <a:pt x="19859" y="613651"/>
                    <a:pt x="12791" y="613651"/>
                  </a:cubicBezTo>
                  <a:moveTo>
                    <a:pt x="12791" y="654578"/>
                  </a:moveTo>
                  <a:cubicBezTo>
                    <a:pt x="5723" y="654578"/>
                    <a:pt x="0" y="660301"/>
                    <a:pt x="0" y="667369"/>
                  </a:cubicBezTo>
                  <a:cubicBezTo>
                    <a:pt x="0" y="674437"/>
                    <a:pt x="5723" y="680160"/>
                    <a:pt x="12791" y="680160"/>
                  </a:cubicBezTo>
                  <a:cubicBezTo>
                    <a:pt x="19859" y="680160"/>
                    <a:pt x="25582" y="674437"/>
                    <a:pt x="25582" y="667369"/>
                  </a:cubicBezTo>
                  <a:cubicBezTo>
                    <a:pt x="25582" y="660301"/>
                    <a:pt x="19859" y="654578"/>
                    <a:pt x="12791" y="654578"/>
                  </a:cubicBezTo>
                  <a:moveTo>
                    <a:pt x="12791" y="695482"/>
                  </a:moveTo>
                  <a:cubicBezTo>
                    <a:pt x="5723" y="695482"/>
                    <a:pt x="0" y="701205"/>
                    <a:pt x="0" y="708273"/>
                  </a:cubicBezTo>
                  <a:cubicBezTo>
                    <a:pt x="0" y="715341"/>
                    <a:pt x="5723" y="721064"/>
                    <a:pt x="12791" y="721064"/>
                  </a:cubicBezTo>
                  <a:cubicBezTo>
                    <a:pt x="19859" y="721064"/>
                    <a:pt x="25582" y="715341"/>
                    <a:pt x="25582" y="708273"/>
                  </a:cubicBezTo>
                  <a:cubicBezTo>
                    <a:pt x="25582" y="701205"/>
                    <a:pt x="19859" y="695482"/>
                    <a:pt x="12791" y="695482"/>
                  </a:cubicBezTo>
                  <a:moveTo>
                    <a:pt x="12791" y="736386"/>
                  </a:moveTo>
                  <a:cubicBezTo>
                    <a:pt x="5723" y="736386"/>
                    <a:pt x="0" y="742109"/>
                    <a:pt x="0" y="749177"/>
                  </a:cubicBezTo>
                  <a:cubicBezTo>
                    <a:pt x="0" y="756245"/>
                    <a:pt x="5723" y="761968"/>
                    <a:pt x="12791" y="761968"/>
                  </a:cubicBezTo>
                  <a:cubicBezTo>
                    <a:pt x="19859" y="761968"/>
                    <a:pt x="25582" y="756245"/>
                    <a:pt x="25582" y="749177"/>
                  </a:cubicBezTo>
                  <a:cubicBezTo>
                    <a:pt x="25582" y="742109"/>
                    <a:pt x="19859" y="736386"/>
                    <a:pt x="12791" y="736386"/>
                  </a:cubicBezTo>
                  <a:moveTo>
                    <a:pt x="12791" y="777313"/>
                  </a:moveTo>
                  <a:cubicBezTo>
                    <a:pt x="5723" y="777313"/>
                    <a:pt x="0" y="783035"/>
                    <a:pt x="0" y="790081"/>
                  </a:cubicBezTo>
                  <a:cubicBezTo>
                    <a:pt x="0" y="797126"/>
                    <a:pt x="5723" y="802872"/>
                    <a:pt x="12791" y="802872"/>
                  </a:cubicBezTo>
                  <a:cubicBezTo>
                    <a:pt x="19859" y="802872"/>
                    <a:pt x="25582" y="797149"/>
                    <a:pt x="25582" y="790081"/>
                  </a:cubicBezTo>
                  <a:cubicBezTo>
                    <a:pt x="25582" y="783013"/>
                    <a:pt x="19859" y="777290"/>
                    <a:pt x="12791" y="777290"/>
                  </a:cubicBezTo>
                  <a:moveTo>
                    <a:pt x="12791" y="818217"/>
                  </a:moveTo>
                  <a:cubicBezTo>
                    <a:pt x="5723" y="818217"/>
                    <a:pt x="0" y="823939"/>
                    <a:pt x="0" y="831008"/>
                  </a:cubicBezTo>
                  <a:cubicBezTo>
                    <a:pt x="0" y="838076"/>
                    <a:pt x="5723" y="843799"/>
                    <a:pt x="12791" y="843799"/>
                  </a:cubicBezTo>
                  <a:cubicBezTo>
                    <a:pt x="19859" y="843799"/>
                    <a:pt x="25582" y="838076"/>
                    <a:pt x="25582" y="831008"/>
                  </a:cubicBezTo>
                  <a:cubicBezTo>
                    <a:pt x="25582" y="823939"/>
                    <a:pt x="19859" y="818217"/>
                    <a:pt x="12791" y="818217"/>
                  </a:cubicBezTo>
                  <a:moveTo>
                    <a:pt x="12791" y="859121"/>
                  </a:moveTo>
                  <a:cubicBezTo>
                    <a:pt x="5723" y="859121"/>
                    <a:pt x="0" y="864843"/>
                    <a:pt x="0" y="871912"/>
                  </a:cubicBezTo>
                  <a:cubicBezTo>
                    <a:pt x="0" y="878980"/>
                    <a:pt x="5723" y="884703"/>
                    <a:pt x="12791" y="884703"/>
                  </a:cubicBezTo>
                  <a:cubicBezTo>
                    <a:pt x="19859" y="884703"/>
                    <a:pt x="25582" y="878980"/>
                    <a:pt x="25582" y="871912"/>
                  </a:cubicBezTo>
                  <a:cubicBezTo>
                    <a:pt x="25582" y="864843"/>
                    <a:pt x="19859" y="859121"/>
                    <a:pt x="12791" y="859121"/>
                  </a:cubicBezTo>
                  <a:moveTo>
                    <a:pt x="994053" y="0"/>
                  </a:moveTo>
                  <a:cubicBezTo>
                    <a:pt x="986985" y="0"/>
                    <a:pt x="981262" y="5723"/>
                    <a:pt x="981262" y="12791"/>
                  </a:cubicBezTo>
                  <a:cubicBezTo>
                    <a:pt x="981262" y="19859"/>
                    <a:pt x="986985" y="25582"/>
                    <a:pt x="994053" y="25582"/>
                  </a:cubicBezTo>
                  <a:cubicBezTo>
                    <a:pt x="1001121" y="25582"/>
                    <a:pt x="1006844" y="19859"/>
                    <a:pt x="1006844" y="12791"/>
                  </a:cubicBezTo>
                  <a:cubicBezTo>
                    <a:pt x="1006844" y="5723"/>
                    <a:pt x="1001121" y="0"/>
                    <a:pt x="994053" y="0"/>
                  </a:cubicBezTo>
                  <a:moveTo>
                    <a:pt x="994053" y="40904"/>
                  </a:moveTo>
                  <a:cubicBezTo>
                    <a:pt x="986985" y="40904"/>
                    <a:pt x="981262" y="46627"/>
                    <a:pt x="981262" y="53695"/>
                  </a:cubicBezTo>
                  <a:cubicBezTo>
                    <a:pt x="981262" y="60763"/>
                    <a:pt x="986985" y="66486"/>
                    <a:pt x="994053" y="66486"/>
                  </a:cubicBezTo>
                  <a:cubicBezTo>
                    <a:pt x="1001121" y="66486"/>
                    <a:pt x="1006844" y="60763"/>
                    <a:pt x="1006844" y="53695"/>
                  </a:cubicBezTo>
                  <a:cubicBezTo>
                    <a:pt x="1006844" y="46627"/>
                    <a:pt x="1001121" y="40904"/>
                    <a:pt x="994053" y="40904"/>
                  </a:cubicBezTo>
                  <a:moveTo>
                    <a:pt x="994053" y="81831"/>
                  </a:moveTo>
                  <a:cubicBezTo>
                    <a:pt x="986985" y="81831"/>
                    <a:pt x="981262" y="87554"/>
                    <a:pt x="981262" y="94622"/>
                  </a:cubicBezTo>
                  <a:cubicBezTo>
                    <a:pt x="981262" y="101690"/>
                    <a:pt x="986985" y="107413"/>
                    <a:pt x="994053" y="107413"/>
                  </a:cubicBezTo>
                  <a:cubicBezTo>
                    <a:pt x="1001121" y="107413"/>
                    <a:pt x="1006844" y="101690"/>
                    <a:pt x="1006844" y="94622"/>
                  </a:cubicBezTo>
                  <a:cubicBezTo>
                    <a:pt x="1006844" y="87554"/>
                    <a:pt x="1001121" y="81831"/>
                    <a:pt x="994053" y="81831"/>
                  </a:cubicBezTo>
                  <a:moveTo>
                    <a:pt x="994053" y="122735"/>
                  </a:moveTo>
                  <a:cubicBezTo>
                    <a:pt x="986985" y="122735"/>
                    <a:pt x="981262" y="128458"/>
                    <a:pt x="981262" y="135526"/>
                  </a:cubicBezTo>
                  <a:cubicBezTo>
                    <a:pt x="981262" y="142594"/>
                    <a:pt x="986985" y="148317"/>
                    <a:pt x="994053" y="148317"/>
                  </a:cubicBezTo>
                  <a:cubicBezTo>
                    <a:pt x="1001121" y="148317"/>
                    <a:pt x="1006844" y="142594"/>
                    <a:pt x="1006844" y="135526"/>
                  </a:cubicBezTo>
                  <a:cubicBezTo>
                    <a:pt x="1006844" y="128458"/>
                    <a:pt x="1001121" y="122735"/>
                    <a:pt x="994053" y="122735"/>
                  </a:cubicBezTo>
                  <a:moveTo>
                    <a:pt x="994053" y="163639"/>
                  </a:moveTo>
                  <a:cubicBezTo>
                    <a:pt x="986985" y="163639"/>
                    <a:pt x="981262" y="169362"/>
                    <a:pt x="981262" y="176430"/>
                  </a:cubicBezTo>
                  <a:cubicBezTo>
                    <a:pt x="981262" y="183498"/>
                    <a:pt x="986985" y="189221"/>
                    <a:pt x="994053" y="189221"/>
                  </a:cubicBezTo>
                  <a:cubicBezTo>
                    <a:pt x="1001121" y="189221"/>
                    <a:pt x="1006844" y="183498"/>
                    <a:pt x="1006844" y="176430"/>
                  </a:cubicBezTo>
                  <a:cubicBezTo>
                    <a:pt x="1006844" y="169362"/>
                    <a:pt x="1001121" y="163639"/>
                    <a:pt x="994053" y="163639"/>
                  </a:cubicBezTo>
                  <a:moveTo>
                    <a:pt x="994053" y="409108"/>
                  </a:moveTo>
                  <a:cubicBezTo>
                    <a:pt x="986985" y="409108"/>
                    <a:pt x="981262" y="414831"/>
                    <a:pt x="981262" y="421899"/>
                  </a:cubicBezTo>
                  <a:cubicBezTo>
                    <a:pt x="981262" y="428967"/>
                    <a:pt x="986985" y="434690"/>
                    <a:pt x="994053" y="434690"/>
                  </a:cubicBezTo>
                  <a:cubicBezTo>
                    <a:pt x="1001121" y="434690"/>
                    <a:pt x="1006844" y="428967"/>
                    <a:pt x="1006844" y="421899"/>
                  </a:cubicBezTo>
                  <a:cubicBezTo>
                    <a:pt x="1006844" y="414831"/>
                    <a:pt x="1001121" y="409108"/>
                    <a:pt x="994053" y="409108"/>
                  </a:cubicBezTo>
                  <a:moveTo>
                    <a:pt x="994053" y="450012"/>
                  </a:moveTo>
                  <a:cubicBezTo>
                    <a:pt x="986985" y="450012"/>
                    <a:pt x="981262" y="455735"/>
                    <a:pt x="981262" y="462803"/>
                  </a:cubicBezTo>
                  <a:cubicBezTo>
                    <a:pt x="981262" y="469871"/>
                    <a:pt x="986985" y="475594"/>
                    <a:pt x="994053" y="475594"/>
                  </a:cubicBezTo>
                  <a:cubicBezTo>
                    <a:pt x="1001121" y="475594"/>
                    <a:pt x="1006844" y="469871"/>
                    <a:pt x="1006844" y="462803"/>
                  </a:cubicBezTo>
                  <a:cubicBezTo>
                    <a:pt x="1006844" y="455735"/>
                    <a:pt x="1001121" y="450012"/>
                    <a:pt x="994053" y="450012"/>
                  </a:cubicBezTo>
                  <a:moveTo>
                    <a:pt x="994053" y="490939"/>
                  </a:moveTo>
                  <a:cubicBezTo>
                    <a:pt x="986985" y="490939"/>
                    <a:pt x="981262" y="496662"/>
                    <a:pt x="981262" y="503730"/>
                  </a:cubicBezTo>
                  <a:cubicBezTo>
                    <a:pt x="981262" y="510798"/>
                    <a:pt x="986985" y="516521"/>
                    <a:pt x="994053" y="516521"/>
                  </a:cubicBezTo>
                  <a:cubicBezTo>
                    <a:pt x="1001121" y="516521"/>
                    <a:pt x="1006844" y="510798"/>
                    <a:pt x="1006844" y="503730"/>
                  </a:cubicBezTo>
                  <a:cubicBezTo>
                    <a:pt x="1006844" y="496662"/>
                    <a:pt x="1001121" y="490939"/>
                    <a:pt x="994053" y="490939"/>
                  </a:cubicBezTo>
                  <a:moveTo>
                    <a:pt x="994053" y="531843"/>
                  </a:moveTo>
                  <a:cubicBezTo>
                    <a:pt x="986985" y="531843"/>
                    <a:pt x="981262" y="537566"/>
                    <a:pt x="981262" y="544634"/>
                  </a:cubicBezTo>
                  <a:cubicBezTo>
                    <a:pt x="981262" y="551702"/>
                    <a:pt x="986985" y="557425"/>
                    <a:pt x="994053" y="557425"/>
                  </a:cubicBezTo>
                  <a:cubicBezTo>
                    <a:pt x="1001121" y="557425"/>
                    <a:pt x="1006844" y="551702"/>
                    <a:pt x="1006844" y="544634"/>
                  </a:cubicBezTo>
                  <a:cubicBezTo>
                    <a:pt x="1006844" y="537566"/>
                    <a:pt x="1001121" y="531843"/>
                    <a:pt x="994053" y="531843"/>
                  </a:cubicBezTo>
                  <a:moveTo>
                    <a:pt x="994053" y="572747"/>
                  </a:moveTo>
                  <a:cubicBezTo>
                    <a:pt x="986985" y="572747"/>
                    <a:pt x="981262" y="578470"/>
                    <a:pt x="981262" y="585538"/>
                  </a:cubicBezTo>
                  <a:cubicBezTo>
                    <a:pt x="981262" y="592606"/>
                    <a:pt x="986985" y="598329"/>
                    <a:pt x="994053" y="598329"/>
                  </a:cubicBezTo>
                  <a:cubicBezTo>
                    <a:pt x="1001121" y="598329"/>
                    <a:pt x="1006844" y="592606"/>
                    <a:pt x="1006844" y="585538"/>
                  </a:cubicBezTo>
                  <a:cubicBezTo>
                    <a:pt x="1006844" y="578470"/>
                    <a:pt x="1001121" y="572747"/>
                    <a:pt x="994053" y="572747"/>
                  </a:cubicBezTo>
                  <a:moveTo>
                    <a:pt x="994053" y="613674"/>
                  </a:moveTo>
                  <a:cubicBezTo>
                    <a:pt x="986985" y="613674"/>
                    <a:pt x="981262" y="619397"/>
                    <a:pt x="981262" y="626465"/>
                  </a:cubicBezTo>
                  <a:cubicBezTo>
                    <a:pt x="981262" y="633533"/>
                    <a:pt x="986985" y="639256"/>
                    <a:pt x="994053" y="639256"/>
                  </a:cubicBezTo>
                  <a:cubicBezTo>
                    <a:pt x="1001121" y="639256"/>
                    <a:pt x="1006844" y="633533"/>
                    <a:pt x="1006844" y="626465"/>
                  </a:cubicBezTo>
                  <a:cubicBezTo>
                    <a:pt x="1006844" y="619397"/>
                    <a:pt x="1001121" y="613674"/>
                    <a:pt x="994053" y="613674"/>
                  </a:cubicBezTo>
                  <a:moveTo>
                    <a:pt x="994053" y="654578"/>
                  </a:moveTo>
                  <a:cubicBezTo>
                    <a:pt x="986985" y="654578"/>
                    <a:pt x="981262" y="660301"/>
                    <a:pt x="981262" y="667369"/>
                  </a:cubicBezTo>
                  <a:cubicBezTo>
                    <a:pt x="981262" y="674437"/>
                    <a:pt x="986985" y="680160"/>
                    <a:pt x="994053" y="680160"/>
                  </a:cubicBezTo>
                  <a:cubicBezTo>
                    <a:pt x="1001121" y="680160"/>
                    <a:pt x="1006844" y="674437"/>
                    <a:pt x="1006844" y="667369"/>
                  </a:cubicBezTo>
                  <a:cubicBezTo>
                    <a:pt x="1006844" y="660301"/>
                    <a:pt x="1001121" y="654578"/>
                    <a:pt x="994053" y="654578"/>
                  </a:cubicBezTo>
                  <a:moveTo>
                    <a:pt x="994053" y="695482"/>
                  </a:moveTo>
                  <a:cubicBezTo>
                    <a:pt x="986985" y="695482"/>
                    <a:pt x="981262" y="701205"/>
                    <a:pt x="981262" y="708273"/>
                  </a:cubicBezTo>
                  <a:cubicBezTo>
                    <a:pt x="981262" y="715341"/>
                    <a:pt x="986985" y="721064"/>
                    <a:pt x="994053" y="721064"/>
                  </a:cubicBezTo>
                  <a:cubicBezTo>
                    <a:pt x="1001121" y="721064"/>
                    <a:pt x="1006844" y="715341"/>
                    <a:pt x="1006844" y="708273"/>
                  </a:cubicBezTo>
                  <a:cubicBezTo>
                    <a:pt x="1006844" y="701205"/>
                    <a:pt x="1001121" y="695482"/>
                    <a:pt x="994053" y="695482"/>
                  </a:cubicBezTo>
                  <a:moveTo>
                    <a:pt x="994053" y="736386"/>
                  </a:moveTo>
                  <a:cubicBezTo>
                    <a:pt x="986985" y="736386"/>
                    <a:pt x="981262" y="742109"/>
                    <a:pt x="981262" y="749177"/>
                  </a:cubicBezTo>
                  <a:cubicBezTo>
                    <a:pt x="981262" y="756245"/>
                    <a:pt x="986985" y="761968"/>
                    <a:pt x="994053" y="761968"/>
                  </a:cubicBezTo>
                  <a:cubicBezTo>
                    <a:pt x="1001121" y="761968"/>
                    <a:pt x="1006844" y="756245"/>
                    <a:pt x="1006844" y="749177"/>
                  </a:cubicBezTo>
                  <a:cubicBezTo>
                    <a:pt x="1006844" y="742109"/>
                    <a:pt x="1001121" y="736386"/>
                    <a:pt x="994053" y="736386"/>
                  </a:cubicBezTo>
                  <a:moveTo>
                    <a:pt x="994053" y="777313"/>
                  </a:moveTo>
                  <a:cubicBezTo>
                    <a:pt x="986985" y="777313"/>
                    <a:pt x="981262" y="783035"/>
                    <a:pt x="981262" y="790104"/>
                  </a:cubicBezTo>
                  <a:cubicBezTo>
                    <a:pt x="981262" y="797172"/>
                    <a:pt x="986985" y="802895"/>
                    <a:pt x="994053" y="802895"/>
                  </a:cubicBezTo>
                  <a:cubicBezTo>
                    <a:pt x="1001121" y="802895"/>
                    <a:pt x="1006844" y="797172"/>
                    <a:pt x="1006844" y="790104"/>
                  </a:cubicBezTo>
                  <a:cubicBezTo>
                    <a:pt x="1006844" y="783035"/>
                    <a:pt x="1001121" y="777313"/>
                    <a:pt x="994053" y="777313"/>
                  </a:cubicBezTo>
                  <a:moveTo>
                    <a:pt x="994053" y="818217"/>
                  </a:moveTo>
                  <a:cubicBezTo>
                    <a:pt x="986985" y="818217"/>
                    <a:pt x="981262" y="823939"/>
                    <a:pt x="981262" y="831008"/>
                  </a:cubicBezTo>
                  <a:cubicBezTo>
                    <a:pt x="981262" y="838076"/>
                    <a:pt x="986985" y="843799"/>
                    <a:pt x="994053" y="843799"/>
                  </a:cubicBezTo>
                  <a:cubicBezTo>
                    <a:pt x="1001121" y="843799"/>
                    <a:pt x="1006844" y="838076"/>
                    <a:pt x="1006844" y="831008"/>
                  </a:cubicBezTo>
                  <a:cubicBezTo>
                    <a:pt x="1006844" y="823939"/>
                    <a:pt x="1001121" y="818217"/>
                    <a:pt x="994053" y="818217"/>
                  </a:cubicBezTo>
                  <a:moveTo>
                    <a:pt x="994053" y="859121"/>
                  </a:moveTo>
                  <a:cubicBezTo>
                    <a:pt x="986985" y="859121"/>
                    <a:pt x="981262" y="864843"/>
                    <a:pt x="981262" y="871912"/>
                  </a:cubicBezTo>
                  <a:cubicBezTo>
                    <a:pt x="981262" y="878980"/>
                    <a:pt x="986985" y="884703"/>
                    <a:pt x="994053" y="884703"/>
                  </a:cubicBezTo>
                  <a:cubicBezTo>
                    <a:pt x="1001121" y="884703"/>
                    <a:pt x="1006844" y="878980"/>
                    <a:pt x="1006844" y="871912"/>
                  </a:cubicBezTo>
                  <a:cubicBezTo>
                    <a:pt x="1006844" y="864843"/>
                    <a:pt x="1001121" y="859121"/>
                    <a:pt x="994053" y="859121"/>
                  </a:cubicBezTo>
                  <a:moveTo>
                    <a:pt x="953149" y="0"/>
                  </a:moveTo>
                  <a:cubicBezTo>
                    <a:pt x="946081" y="0"/>
                    <a:pt x="940358" y="5723"/>
                    <a:pt x="940358" y="12791"/>
                  </a:cubicBezTo>
                  <a:cubicBezTo>
                    <a:pt x="940358" y="19859"/>
                    <a:pt x="946081" y="25582"/>
                    <a:pt x="953149" y="25582"/>
                  </a:cubicBezTo>
                  <a:cubicBezTo>
                    <a:pt x="960217" y="25582"/>
                    <a:pt x="965940" y="19859"/>
                    <a:pt x="965940" y="12791"/>
                  </a:cubicBezTo>
                  <a:cubicBezTo>
                    <a:pt x="965940" y="5723"/>
                    <a:pt x="960195" y="0"/>
                    <a:pt x="953149" y="0"/>
                  </a:cubicBezTo>
                  <a:moveTo>
                    <a:pt x="953149" y="40904"/>
                  </a:moveTo>
                  <a:cubicBezTo>
                    <a:pt x="946081" y="40904"/>
                    <a:pt x="940358" y="46627"/>
                    <a:pt x="940358" y="53695"/>
                  </a:cubicBezTo>
                  <a:cubicBezTo>
                    <a:pt x="940358" y="60763"/>
                    <a:pt x="946081" y="66486"/>
                    <a:pt x="953149" y="66486"/>
                  </a:cubicBezTo>
                  <a:cubicBezTo>
                    <a:pt x="960217" y="66486"/>
                    <a:pt x="965940" y="60763"/>
                    <a:pt x="965940" y="53695"/>
                  </a:cubicBezTo>
                  <a:cubicBezTo>
                    <a:pt x="965940" y="46627"/>
                    <a:pt x="960217" y="40904"/>
                    <a:pt x="953149" y="40904"/>
                  </a:cubicBezTo>
                  <a:moveTo>
                    <a:pt x="953149" y="81831"/>
                  </a:moveTo>
                  <a:cubicBezTo>
                    <a:pt x="946081" y="81831"/>
                    <a:pt x="940358" y="87554"/>
                    <a:pt x="940358" y="94622"/>
                  </a:cubicBezTo>
                  <a:cubicBezTo>
                    <a:pt x="940358" y="101690"/>
                    <a:pt x="946081" y="107413"/>
                    <a:pt x="953149" y="107413"/>
                  </a:cubicBezTo>
                  <a:cubicBezTo>
                    <a:pt x="960217" y="107413"/>
                    <a:pt x="965940" y="101690"/>
                    <a:pt x="965940" y="94622"/>
                  </a:cubicBezTo>
                  <a:cubicBezTo>
                    <a:pt x="965940" y="87554"/>
                    <a:pt x="960217" y="81831"/>
                    <a:pt x="953149" y="81831"/>
                  </a:cubicBezTo>
                  <a:moveTo>
                    <a:pt x="953149" y="122735"/>
                  </a:moveTo>
                  <a:cubicBezTo>
                    <a:pt x="946081" y="122735"/>
                    <a:pt x="940358" y="128458"/>
                    <a:pt x="940358" y="135526"/>
                  </a:cubicBezTo>
                  <a:cubicBezTo>
                    <a:pt x="940358" y="142594"/>
                    <a:pt x="946081" y="148317"/>
                    <a:pt x="953149" y="148317"/>
                  </a:cubicBezTo>
                  <a:cubicBezTo>
                    <a:pt x="960217" y="148317"/>
                    <a:pt x="965940" y="142594"/>
                    <a:pt x="965940" y="135526"/>
                  </a:cubicBezTo>
                  <a:cubicBezTo>
                    <a:pt x="965940" y="128458"/>
                    <a:pt x="960217" y="122735"/>
                    <a:pt x="953149" y="122735"/>
                  </a:cubicBezTo>
                  <a:moveTo>
                    <a:pt x="953149" y="163639"/>
                  </a:moveTo>
                  <a:cubicBezTo>
                    <a:pt x="946081" y="163639"/>
                    <a:pt x="940358" y="169362"/>
                    <a:pt x="940358" y="176430"/>
                  </a:cubicBezTo>
                  <a:cubicBezTo>
                    <a:pt x="940358" y="183498"/>
                    <a:pt x="946081" y="189221"/>
                    <a:pt x="953149" y="189221"/>
                  </a:cubicBezTo>
                  <a:cubicBezTo>
                    <a:pt x="960217" y="189221"/>
                    <a:pt x="965940" y="183498"/>
                    <a:pt x="965940" y="176430"/>
                  </a:cubicBezTo>
                  <a:cubicBezTo>
                    <a:pt x="965940" y="169362"/>
                    <a:pt x="960217" y="163639"/>
                    <a:pt x="953149" y="163639"/>
                  </a:cubicBezTo>
                  <a:moveTo>
                    <a:pt x="953149" y="204543"/>
                  </a:moveTo>
                  <a:cubicBezTo>
                    <a:pt x="946081" y="204543"/>
                    <a:pt x="940358" y="210266"/>
                    <a:pt x="940358" y="217334"/>
                  </a:cubicBezTo>
                  <a:cubicBezTo>
                    <a:pt x="940358" y="224402"/>
                    <a:pt x="946081" y="230125"/>
                    <a:pt x="953149" y="230125"/>
                  </a:cubicBezTo>
                  <a:cubicBezTo>
                    <a:pt x="960217" y="230125"/>
                    <a:pt x="965940" y="224402"/>
                    <a:pt x="965940" y="217334"/>
                  </a:cubicBezTo>
                  <a:cubicBezTo>
                    <a:pt x="965940" y="210266"/>
                    <a:pt x="960217" y="204543"/>
                    <a:pt x="953149" y="204543"/>
                  </a:cubicBezTo>
                  <a:moveTo>
                    <a:pt x="953149" y="409108"/>
                  </a:moveTo>
                  <a:cubicBezTo>
                    <a:pt x="946081" y="409108"/>
                    <a:pt x="940358" y="414831"/>
                    <a:pt x="940358" y="421899"/>
                  </a:cubicBezTo>
                  <a:cubicBezTo>
                    <a:pt x="940358" y="428967"/>
                    <a:pt x="946081" y="434690"/>
                    <a:pt x="953149" y="434690"/>
                  </a:cubicBezTo>
                  <a:cubicBezTo>
                    <a:pt x="960217" y="434690"/>
                    <a:pt x="965940" y="428967"/>
                    <a:pt x="965940" y="421899"/>
                  </a:cubicBezTo>
                  <a:cubicBezTo>
                    <a:pt x="965940" y="414831"/>
                    <a:pt x="960217" y="409108"/>
                    <a:pt x="953149" y="409108"/>
                  </a:cubicBezTo>
                  <a:moveTo>
                    <a:pt x="953149" y="450012"/>
                  </a:moveTo>
                  <a:cubicBezTo>
                    <a:pt x="946081" y="450012"/>
                    <a:pt x="940358" y="455735"/>
                    <a:pt x="940358" y="462803"/>
                  </a:cubicBezTo>
                  <a:cubicBezTo>
                    <a:pt x="940358" y="469871"/>
                    <a:pt x="946081" y="475594"/>
                    <a:pt x="953149" y="475594"/>
                  </a:cubicBezTo>
                  <a:cubicBezTo>
                    <a:pt x="960217" y="475594"/>
                    <a:pt x="965940" y="469871"/>
                    <a:pt x="965940" y="462803"/>
                  </a:cubicBezTo>
                  <a:cubicBezTo>
                    <a:pt x="965940" y="455735"/>
                    <a:pt x="960217" y="450012"/>
                    <a:pt x="953149" y="450012"/>
                  </a:cubicBezTo>
                  <a:moveTo>
                    <a:pt x="953149" y="490939"/>
                  </a:moveTo>
                  <a:cubicBezTo>
                    <a:pt x="946081" y="490939"/>
                    <a:pt x="940358" y="496662"/>
                    <a:pt x="940358" y="503730"/>
                  </a:cubicBezTo>
                  <a:cubicBezTo>
                    <a:pt x="940358" y="510798"/>
                    <a:pt x="946081" y="516521"/>
                    <a:pt x="953149" y="516521"/>
                  </a:cubicBezTo>
                  <a:cubicBezTo>
                    <a:pt x="960217" y="516521"/>
                    <a:pt x="965940" y="510798"/>
                    <a:pt x="965940" y="503730"/>
                  </a:cubicBezTo>
                  <a:cubicBezTo>
                    <a:pt x="965940" y="496662"/>
                    <a:pt x="960217" y="490939"/>
                    <a:pt x="953149" y="490939"/>
                  </a:cubicBezTo>
                  <a:moveTo>
                    <a:pt x="953149" y="531843"/>
                  </a:moveTo>
                  <a:cubicBezTo>
                    <a:pt x="946081" y="531843"/>
                    <a:pt x="940358" y="537566"/>
                    <a:pt x="940358" y="544634"/>
                  </a:cubicBezTo>
                  <a:cubicBezTo>
                    <a:pt x="940358" y="551702"/>
                    <a:pt x="946081" y="557425"/>
                    <a:pt x="953149" y="557425"/>
                  </a:cubicBezTo>
                  <a:cubicBezTo>
                    <a:pt x="960217" y="557425"/>
                    <a:pt x="965940" y="551702"/>
                    <a:pt x="965940" y="544634"/>
                  </a:cubicBezTo>
                  <a:cubicBezTo>
                    <a:pt x="965940" y="537566"/>
                    <a:pt x="960217" y="531843"/>
                    <a:pt x="953149" y="531843"/>
                  </a:cubicBezTo>
                  <a:moveTo>
                    <a:pt x="953149" y="572747"/>
                  </a:moveTo>
                  <a:cubicBezTo>
                    <a:pt x="946081" y="572747"/>
                    <a:pt x="940358" y="578470"/>
                    <a:pt x="940358" y="585538"/>
                  </a:cubicBezTo>
                  <a:cubicBezTo>
                    <a:pt x="940358" y="592606"/>
                    <a:pt x="946081" y="598329"/>
                    <a:pt x="953149" y="598329"/>
                  </a:cubicBezTo>
                  <a:cubicBezTo>
                    <a:pt x="960217" y="598329"/>
                    <a:pt x="965940" y="592606"/>
                    <a:pt x="965940" y="585538"/>
                  </a:cubicBezTo>
                  <a:cubicBezTo>
                    <a:pt x="965940" y="578470"/>
                    <a:pt x="960217" y="572747"/>
                    <a:pt x="953149" y="572747"/>
                  </a:cubicBezTo>
                  <a:moveTo>
                    <a:pt x="953149" y="613674"/>
                  </a:moveTo>
                  <a:cubicBezTo>
                    <a:pt x="946081" y="613674"/>
                    <a:pt x="940358" y="619397"/>
                    <a:pt x="940358" y="626465"/>
                  </a:cubicBezTo>
                  <a:cubicBezTo>
                    <a:pt x="940358" y="633533"/>
                    <a:pt x="946081" y="639256"/>
                    <a:pt x="953149" y="639256"/>
                  </a:cubicBezTo>
                  <a:cubicBezTo>
                    <a:pt x="960217" y="639256"/>
                    <a:pt x="965940" y="633533"/>
                    <a:pt x="965940" y="626465"/>
                  </a:cubicBezTo>
                  <a:cubicBezTo>
                    <a:pt x="965940" y="619397"/>
                    <a:pt x="960217" y="613674"/>
                    <a:pt x="953149" y="613674"/>
                  </a:cubicBezTo>
                  <a:moveTo>
                    <a:pt x="953149" y="654578"/>
                  </a:moveTo>
                  <a:cubicBezTo>
                    <a:pt x="946081" y="654578"/>
                    <a:pt x="940358" y="660301"/>
                    <a:pt x="940358" y="667369"/>
                  </a:cubicBezTo>
                  <a:cubicBezTo>
                    <a:pt x="940358" y="674437"/>
                    <a:pt x="946081" y="680160"/>
                    <a:pt x="953149" y="680160"/>
                  </a:cubicBezTo>
                  <a:cubicBezTo>
                    <a:pt x="960217" y="680160"/>
                    <a:pt x="965940" y="674437"/>
                    <a:pt x="965940" y="667369"/>
                  </a:cubicBezTo>
                  <a:cubicBezTo>
                    <a:pt x="965940" y="660301"/>
                    <a:pt x="960217" y="654578"/>
                    <a:pt x="953149" y="654578"/>
                  </a:cubicBezTo>
                  <a:moveTo>
                    <a:pt x="953149" y="695482"/>
                  </a:moveTo>
                  <a:cubicBezTo>
                    <a:pt x="946081" y="695482"/>
                    <a:pt x="940358" y="701205"/>
                    <a:pt x="940358" y="708273"/>
                  </a:cubicBezTo>
                  <a:cubicBezTo>
                    <a:pt x="940358" y="715341"/>
                    <a:pt x="946081" y="721064"/>
                    <a:pt x="953149" y="721064"/>
                  </a:cubicBezTo>
                  <a:cubicBezTo>
                    <a:pt x="960217" y="721064"/>
                    <a:pt x="965940" y="715341"/>
                    <a:pt x="965940" y="708273"/>
                  </a:cubicBezTo>
                  <a:cubicBezTo>
                    <a:pt x="965940" y="701205"/>
                    <a:pt x="960217" y="695482"/>
                    <a:pt x="953149" y="695482"/>
                  </a:cubicBezTo>
                  <a:moveTo>
                    <a:pt x="953149" y="736386"/>
                  </a:moveTo>
                  <a:cubicBezTo>
                    <a:pt x="946081" y="736386"/>
                    <a:pt x="940358" y="742109"/>
                    <a:pt x="940358" y="749177"/>
                  </a:cubicBezTo>
                  <a:cubicBezTo>
                    <a:pt x="940358" y="756245"/>
                    <a:pt x="946081" y="761968"/>
                    <a:pt x="953149" y="761968"/>
                  </a:cubicBezTo>
                  <a:cubicBezTo>
                    <a:pt x="960217" y="761968"/>
                    <a:pt x="965940" y="756245"/>
                    <a:pt x="965940" y="749177"/>
                  </a:cubicBezTo>
                  <a:cubicBezTo>
                    <a:pt x="965940" y="742109"/>
                    <a:pt x="960217" y="736386"/>
                    <a:pt x="953149" y="736386"/>
                  </a:cubicBezTo>
                  <a:moveTo>
                    <a:pt x="953149" y="777313"/>
                  </a:moveTo>
                  <a:cubicBezTo>
                    <a:pt x="946081" y="777313"/>
                    <a:pt x="940358" y="783035"/>
                    <a:pt x="940358" y="790104"/>
                  </a:cubicBezTo>
                  <a:cubicBezTo>
                    <a:pt x="940358" y="797172"/>
                    <a:pt x="946081" y="802895"/>
                    <a:pt x="953149" y="802895"/>
                  </a:cubicBezTo>
                  <a:cubicBezTo>
                    <a:pt x="960217" y="802895"/>
                    <a:pt x="965940" y="797172"/>
                    <a:pt x="965940" y="790104"/>
                  </a:cubicBezTo>
                  <a:cubicBezTo>
                    <a:pt x="965940" y="783035"/>
                    <a:pt x="960217" y="777313"/>
                    <a:pt x="953149" y="777313"/>
                  </a:cubicBezTo>
                  <a:moveTo>
                    <a:pt x="953149" y="818217"/>
                  </a:moveTo>
                  <a:cubicBezTo>
                    <a:pt x="946081" y="818217"/>
                    <a:pt x="940358" y="823939"/>
                    <a:pt x="940358" y="831008"/>
                  </a:cubicBezTo>
                  <a:cubicBezTo>
                    <a:pt x="940358" y="838076"/>
                    <a:pt x="946081" y="843799"/>
                    <a:pt x="953149" y="843799"/>
                  </a:cubicBezTo>
                  <a:cubicBezTo>
                    <a:pt x="960217" y="843799"/>
                    <a:pt x="965940" y="838076"/>
                    <a:pt x="965940" y="831008"/>
                  </a:cubicBezTo>
                  <a:cubicBezTo>
                    <a:pt x="965940" y="823939"/>
                    <a:pt x="960217" y="818217"/>
                    <a:pt x="953149" y="818217"/>
                  </a:cubicBezTo>
                  <a:moveTo>
                    <a:pt x="953149" y="859121"/>
                  </a:moveTo>
                  <a:cubicBezTo>
                    <a:pt x="946081" y="859121"/>
                    <a:pt x="940358" y="864843"/>
                    <a:pt x="940358" y="871912"/>
                  </a:cubicBezTo>
                  <a:cubicBezTo>
                    <a:pt x="940358" y="878980"/>
                    <a:pt x="946081" y="884703"/>
                    <a:pt x="953149" y="884703"/>
                  </a:cubicBezTo>
                  <a:cubicBezTo>
                    <a:pt x="960217" y="884703"/>
                    <a:pt x="965940" y="878980"/>
                    <a:pt x="965940" y="871912"/>
                  </a:cubicBezTo>
                  <a:cubicBezTo>
                    <a:pt x="965940" y="864843"/>
                    <a:pt x="960217" y="859121"/>
                    <a:pt x="953149" y="859121"/>
                  </a:cubicBezTo>
                  <a:moveTo>
                    <a:pt x="912222" y="0"/>
                  </a:moveTo>
                  <a:cubicBezTo>
                    <a:pt x="905154" y="0"/>
                    <a:pt x="899431" y="5723"/>
                    <a:pt x="899431" y="12791"/>
                  </a:cubicBezTo>
                  <a:cubicBezTo>
                    <a:pt x="899431" y="19859"/>
                    <a:pt x="905154" y="25582"/>
                    <a:pt x="912222" y="25582"/>
                  </a:cubicBezTo>
                  <a:cubicBezTo>
                    <a:pt x="919291" y="25582"/>
                    <a:pt x="925013" y="19859"/>
                    <a:pt x="925013" y="12791"/>
                  </a:cubicBezTo>
                  <a:cubicBezTo>
                    <a:pt x="925013" y="5723"/>
                    <a:pt x="919291" y="0"/>
                    <a:pt x="912222" y="0"/>
                  </a:cubicBezTo>
                  <a:moveTo>
                    <a:pt x="912222" y="40904"/>
                  </a:moveTo>
                  <a:cubicBezTo>
                    <a:pt x="905154" y="40904"/>
                    <a:pt x="899431" y="46627"/>
                    <a:pt x="899431" y="53695"/>
                  </a:cubicBezTo>
                  <a:cubicBezTo>
                    <a:pt x="899431" y="60763"/>
                    <a:pt x="905154" y="66486"/>
                    <a:pt x="912222" y="66486"/>
                  </a:cubicBezTo>
                  <a:cubicBezTo>
                    <a:pt x="919291" y="66486"/>
                    <a:pt x="925013" y="60763"/>
                    <a:pt x="925013" y="53695"/>
                  </a:cubicBezTo>
                  <a:cubicBezTo>
                    <a:pt x="925013" y="46627"/>
                    <a:pt x="919291" y="40904"/>
                    <a:pt x="912222" y="40904"/>
                  </a:cubicBezTo>
                  <a:moveTo>
                    <a:pt x="912222" y="81831"/>
                  </a:moveTo>
                  <a:cubicBezTo>
                    <a:pt x="905154" y="81831"/>
                    <a:pt x="899431" y="87554"/>
                    <a:pt x="899431" y="94622"/>
                  </a:cubicBezTo>
                  <a:cubicBezTo>
                    <a:pt x="899431" y="101690"/>
                    <a:pt x="905154" y="107413"/>
                    <a:pt x="912222" y="107413"/>
                  </a:cubicBezTo>
                  <a:cubicBezTo>
                    <a:pt x="919291" y="107413"/>
                    <a:pt x="925013" y="101690"/>
                    <a:pt x="925013" y="94622"/>
                  </a:cubicBezTo>
                  <a:cubicBezTo>
                    <a:pt x="925013" y="87554"/>
                    <a:pt x="919291" y="81831"/>
                    <a:pt x="912222" y="81831"/>
                  </a:cubicBezTo>
                  <a:moveTo>
                    <a:pt x="912222" y="122735"/>
                  </a:moveTo>
                  <a:cubicBezTo>
                    <a:pt x="905154" y="122735"/>
                    <a:pt x="899431" y="128458"/>
                    <a:pt x="899431" y="135526"/>
                  </a:cubicBezTo>
                  <a:cubicBezTo>
                    <a:pt x="899431" y="142594"/>
                    <a:pt x="905154" y="148317"/>
                    <a:pt x="912222" y="148317"/>
                  </a:cubicBezTo>
                  <a:cubicBezTo>
                    <a:pt x="919291" y="148317"/>
                    <a:pt x="925013" y="142594"/>
                    <a:pt x="925013" y="135526"/>
                  </a:cubicBezTo>
                  <a:cubicBezTo>
                    <a:pt x="925013" y="128458"/>
                    <a:pt x="919291" y="122735"/>
                    <a:pt x="912222" y="122735"/>
                  </a:cubicBezTo>
                  <a:moveTo>
                    <a:pt x="912222" y="163639"/>
                  </a:moveTo>
                  <a:cubicBezTo>
                    <a:pt x="905154" y="163639"/>
                    <a:pt x="899431" y="169362"/>
                    <a:pt x="899431" y="176430"/>
                  </a:cubicBezTo>
                  <a:cubicBezTo>
                    <a:pt x="899431" y="183498"/>
                    <a:pt x="905154" y="189221"/>
                    <a:pt x="912222" y="189221"/>
                  </a:cubicBezTo>
                  <a:cubicBezTo>
                    <a:pt x="919291" y="189221"/>
                    <a:pt x="925013" y="183498"/>
                    <a:pt x="925013" y="176430"/>
                  </a:cubicBezTo>
                  <a:cubicBezTo>
                    <a:pt x="925013" y="169362"/>
                    <a:pt x="919291" y="163639"/>
                    <a:pt x="912222" y="163639"/>
                  </a:cubicBezTo>
                  <a:moveTo>
                    <a:pt x="912222" y="204543"/>
                  </a:moveTo>
                  <a:cubicBezTo>
                    <a:pt x="905154" y="204543"/>
                    <a:pt x="899431" y="210266"/>
                    <a:pt x="899431" y="217334"/>
                  </a:cubicBezTo>
                  <a:cubicBezTo>
                    <a:pt x="899431" y="224402"/>
                    <a:pt x="905154" y="230125"/>
                    <a:pt x="912222" y="230125"/>
                  </a:cubicBezTo>
                  <a:cubicBezTo>
                    <a:pt x="919291" y="230125"/>
                    <a:pt x="925013" y="224402"/>
                    <a:pt x="925013" y="217334"/>
                  </a:cubicBezTo>
                  <a:cubicBezTo>
                    <a:pt x="925013" y="210266"/>
                    <a:pt x="919291" y="204543"/>
                    <a:pt x="912222" y="204543"/>
                  </a:cubicBezTo>
                  <a:moveTo>
                    <a:pt x="912222" y="245470"/>
                  </a:moveTo>
                  <a:cubicBezTo>
                    <a:pt x="905154" y="245470"/>
                    <a:pt x="899431" y="251192"/>
                    <a:pt x="899431" y="258261"/>
                  </a:cubicBezTo>
                  <a:cubicBezTo>
                    <a:pt x="899431" y="265329"/>
                    <a:pt x="905154" y="271052"/>
                    <a:pt x="912222" y="271052"/>
                  </a:cubicBezTo>
                  <a:cubicBezTo>
                    <a:pt x="919291" y="271052"/>
                    <a:pt x="925013" y="265329"/>
                    <a:pt x="925013" y="258261"/>
                  </a:cubicBezTo>
                  <a:cubicBezTo>
                    <a:pt x="925013" y="251192"/>
                    <a:pt x="919291" y="245470"/>
                    <a:pt x="912222" y="245470"/>
                  </a:cubicBezTo>
                  <a:moveTo>
                    <a:pt x="912222" y="409108"/>
                  </a:moveTo>
                  <a:cubicBezTo>
                    <a:pt x="905154" y="409108"/>
                    <a:pt x="899431" y="414831"/>
                    <a:pt x="899431" y="421899"/>
                  </a:cubicBezTo>
                  <a:cubicBezTo>
                    <a:pt x="899431" y="428967"/>
                    <a:pt x="905154" y="434690"/>
                    <a:pt x="912222" y="434690"/>
                  </a:cubicBezTo>
                  <a:cubicBezTo>
                    <a:pt x="919291" y="434690"/>
                    <a:pt x="925013" y="428967"/>
                    <a:pt x="925013" y="421899"/>
                  </a:cubicBezTo>
                  <a:cubicBezTo>
                    <a:pt x="925013" y="414831"/>
                    <a:pt x="919291" y="409108"/>
                    <a:pt x="912222" y="409108"/>
                  </a:cubicBezTo>
                  <a:moveTo>
                    <a:pt x="912222" y="450012"/>
                  </a:moveTo>
                  <a:cubicBezTo>
                    <a:pt x="905154" y="450012"/>
                    <a:pt x="899431" y="455735"/>
                    <a:pt x="899431" y="462803"/>
                  </a:cubicBezTo>
                  <a:cubicBezTo>
                    <a:pt x="899431" y="469871"/>
                    <a:pt x="905154" y="475594"/>
                    <a:pt x="912222" y="475594"/>
                  </a:cubicBezTo>
                  <a:cubicBezTo>
                    <a:pt x="919291" y="475594"/>
                    <a:pt x="925013" y="469871"/>
                    <a:pt x="925013" y="462803"/>
                  </a:cubicBezTo>
                  <a:cubicBezTo>
                    <a:pt x="925013" y="455735"/>
                    <a:pt x="919291" y="450012"/>
                    <a:pt x="912222" y="450012"/>
                  </a:cubicBezTo>
                  <a:moveTo>
                    <a:pt x="912222" y="490939"/>
                  </a:moveTo>
                  <a:cubicBezTo>
                    <a:pt x="905154" y="490939"/>
                    <a:pt x="899431" y="496662"/>
                    <a:pt x="899431" y="503730"/>
                  </a:cubicBezTo>
                  <a:cubicBezTo>
                    <a:pt x="899431" y="510798"/>
                    <a:pt x="905154" y="516521"/>
                    <a:pt x="912222" y="516521"/>
                  </a:cubicBezTo>
                  <a:cubicBezTo>
                    <a:pt x="919291" y="516521"/>
                    <a:pt x="925013" y="510798"/>
                    <a:pt x="925013" y="503730"/>
                  </a:cubicBezTo>
                  <a:cubicBezTo>
                    <a:pt x="925013" y="496662"/>
                    <a:pt x="919291" y="490939"/>
                    <a:pt x="912222" y="490939"/>
                  </a:cubicBezTo>
                  <a:moveTo>
                    <a:pt x="912222" y="531843"/>
                  </a:moveTo>
                  <a:cubicBezTo>
                    <a:pt x="905154" y="531843"/>
                    <a:pt x="899431" y="537566"/>
                    <a:pt x="899431" y="544634"/>
                  </a:cubicBezTo>
                  <a:cubicBezTo>
                    <a:pt x="899431" y="551702"/>
                    <a:pt x="905154" y="557425"/>
                    <a:pt x="912222" y="557425"/>
                  </a:cubicBezTo>
                  <a:cubicBezTo>
                    <a:pt x="919291" y="557425"/>
                    <a:pt x="925013" y="551702"/>
                    <a:pt x="925013" y="544634"/>
                  </a:cubicBezTo>
                  <a:cubicBezTo>
                    <a:pt x="925013" y="537566"/>
                    <a:pt x="919291" y="531843"/>
                    <a:pt x="912222" y="531843"/>
                  </a:cubicBezTo>
                  <a:moveTo>
                    <a:pt x="912222" y="572747"/>
                  </a:moveTo>
                  <a:cubicBezTo>
                    <a:pt x="905154" y="572747"/>
                    <a:pt x="899431" y="578470"/>
                    <a:pt x="899431" y="585538"/>
                  </a:cubicBezTo>
                  <a:cubicBezTo>
                    <a:pt x="899431" y="592606"/>
                    <a:pt x="905154" y="598329"/>
                    <a:pt x="912222" y="598329"/>
                  </a:cubicBezTo>
                  <a:cubicBezTo>
                    <a:pt x="919291" y="598329"/>
                    <a:pt x="925013" y="592606"/>
                    <a:pt x="925013" y="585538"/>
                  </a:cubicBezTo>
                  <a:cubicBezTo>
                    <a:pt x="925013" y="578470"/>
                    <a:pt x="919291" y="572747"/>
                    <a:pt x="912222" y="572747"/>
                  </a:cubicBezTo>
                  <a:moveTo>
                    <a:pt x="912222" y="613674"/>
                  </a:moveTo>
                  <a:cubicBezTo>
                    <a:pt x="905154" y="613674"/>
                    <a:pt x="899431" y="619397"/>
                    <a:pt x="899431" y="626465"/>
                  </a:cubicBezTo>
                  <a:cubicBezTo>
                    <a:pt x="899431" y="633533"/>
                    <a:pt x="905154" y="639256"/>
                    <a:pt x="912222" y="639256"/>
                  </a:cubicBezTo>
                  <a:cubicBezTo>
                    <a:pt x="919291" y="639256"/>
                    <a:pt x="925013" y="633533"/>
                    <a:pt x="925013" y="626465"/>
                  </a:cubicBezTo>
                  <a:cubicBezTo>
                    <a:pt x="925013" y="619397"/>
                    <a:pt x="919291" y="613674"/>
                    <a:pt x="912222" y="613674"/>
                  </a:cubicBezTo>
                  <a:moveTo>
                    <a:pt x="912222" y="654578"/>
                  </a:moveTo>
                  <a:cubicBezTo>
                    <a:pt x="905154" y="654578"/>
                    <a:pt x="899431" y="660301"/>
                    <a:pt x="899431" y="667369"/>
                  </a:cubicBezTo>
                  <a:cubicBezTo>
                    <a:pt x="899431" y="674437"/>
                    <a:pt x="905154" y="680160"/>
                    <a:pt x="912222" y="680160"/>
                  </a:cubicBezTo>
                  <a:cubicBezTo>
                    <a:pt x="919291" y="680160"/>
                    <a:pt x="925013" y="674437"/>
                    <a:pt x="925013" y="667369"/>
                  </a:cubicBezTo>
                  <a:cubicBezTo>
                    <a:pt x="925013" y="660301"/>
                    <a:pt x="919291" y="654578"/>
                    <a:pt x="912222" y="654578"/>
                  </a:cubicBezTo>
                  <a:moveTo>
                    <a:pt x="912222" y="695482"/>
                  </a:moveTo>
                  <a:cubicBezTo>
                    <a:pt x="905154" y="695482"/>
                    <a:pt x="899431" y="701205"/>
                    <a:pt x="899431" y="708273"/>
                  </a:cubicBezTo>
                  <a:cubicBezTo>
                    <a:pt x="899431" y="715341"/>
                    <a:pt x="905154" y="721064"/>
                    <a:pt x="912222" y="721064"/>
                  </a:cubicBezTo>
                  <a:cubicBezTo>
                    <a:pt x="919291" y="721064"/>
                    <a:pt x="925013" y="715341"/>
                    <a:pt x="925013" y="708273"/>
                  </a:cubicBezTo>
                  <a:cubicBezTo>
                    <a:pt x="925013" y="701205"/>
                    <a:pt x="919291" y="695482"/>
                    <a:pt x="912222" y="695482"/>
                  </a:cubicBezTo>
                  <a:moveTo>
                    <a:pt x="912222" y="736386"/>
                  </a:moveTo>
                  <a:cubicBezTo>
                    <a:pt x="905154" y="736386"/>
                    <a:pt x="899431" y="742109"/>
                    <a:pt x="899431" y="749177"/>
                  </a:cubicBezTo>
                  <a:cubicBezTo>
                    <a:pt x="899431" y="756245"/>
                    <a:pt x="905154" y="761968"/>
                    <a:pt x="912222" y="761968"/>
                  </a:cubicBezTo>
                  <a:cubicBezTo>
                    <a:pt x="919291" y="761968"/>
                    <a:pt x="925013" y="756245"/>
                    <a:pt x="925013" y="749177"/>
                  </a:cubicBezTo>
                  <a:cubicBezTo>
                    <a:pt x="925013" y="742109"/>
                    <a:pt x="919291" y="736386"/>
                    <a:pt x="912222" y="736386"/>
                  </a:cubicBezTo>
                  <a:moveTo>
                    <a:pt x="912222" y="777313"/>
                  </a:moveTo>
                  <a:cubicBezTo>
                    <a:pt x="905154" y="777313"/>
                    <a:pt x="899431" y="783035"/>
                    <a:pt x="899431" y="790104"/>
                  </a:cubicBezTo>
                  <a:cubicBezTo>
                    <a:pt x="899431" y="797172"/>
                    <a:pt x="905154" y="802895"/>
                    <a:pt x="912222" y="802895"/>
                  </a:cubicBezTo>
                  <a:cubicBezTo>
                    <a:pt x="919291" y="802895"/>
                    <a:pt x="925013" y="797172"/>
                    <a:pt x="925013" y="790104"/>
                  </a:cubicBezTo>
                  <a:cubicBezTo>
                    <a:pt x="925013" y="783035"/>
                    <a:pt x="919291" y="777313"/>
                    <a:pt x="912222" y="777313"/>
                  </a:cubicBezTo>
                  <a:moveTo>
                    <a:pt x="912222" y="818217"/>
                  </a:moveTo>
                  <a:cubicBezTo>
                    <a:pt x="905154" y="818217"/>
                    <a:pt x="899431" y="823939"/>
                    <a:pt x="899431" y="831008"/>
                  </a:cubicBezTo>
                  <a:cubicBezTo>
                    <a:pt x="899431" y="838076"/>
                    <a:pt x="905154" y="843799"/>
                    <a:pt x="912222" y="843799"/>
                  </a:cubicBezTo>
                  <a:cubicBezTo>
                    <a:pt x="919291" y="843799"/>
                    <a:pt x="925013" y="838076"/>
                    <a:pt x="925013" y="831008"/>
                  </a:cubicBezTo>
                  <a:cubicBezTo>
                    <a:pt x="925013" y="823939"/>
                    <a:pt x="919291" y="818217"/>
                    <a:pt x="912222" y="818217"/>
                  </a:cubicBezTo>
                  <a:moveTo>
                    <a:pt x="912222" y="859121"/>
                  </a:moveTo>
                  <a:cubicBezTo>
                    <a:pt x="905154" y="859121"/>
                    <a:pt x="899431" y="864843"/>
                    <a:pt x="899431" y="871912"/>
                  </a:cubicBezTo>
                  <a:cubicBezTo>
                    <a:pt x="899431" y="878980"/>
                    <a:pt x="905154" y="884703"/>
                    <a:pt x="912222" y="884703"/>
                  </a:cubicBezTo>
                  <a:cubicBezTo>
                    <a:pt x="919291" y="884703"/>
                    <a:pt x="925013" y="878980"/>
                    <a:pt x="925013" y="871912"/>
                  </a:cubicBezTo>
                  <a:cubicBezTo>
                    <a:pt x="925013" y="864843"/>
                    <a:pt x="919291" y="859121"/>
                    <a:pt x="912222" y="859121"/>
                  </a:cubicBezTo>
                  <a:moveTo>
                    <a:pt x="871318" y="0"/>
                  </a:moveTo>
                  <a:cubicBezTo>
                    <a:pt x="864250" y="0"/>
                    <a:pt x="858527" y="5723"/>
                    <a:pt x="858527" y="12791"/>
                  </a:cubicBezTo>
                  <a:cubicBezTo>
                    <a:pt x="858527" y="19859"/>
                    <a:pt x="864250" y="25582"/>
                    <a:pt x="871318" y="25582"/>
                  </a:cubicBezTo>
                  <a:cubicBezTo>
                    <a:pt x="878387" y="25582"/>
                    <a:pt x="884110" y="19859"/>
                    <a:pt x="884110" y="12791"/>
                  </a:cubicBezTo>
                  <a:cubicBezTo>
                    <a:pt x="884110" y="5723"/>
                    <a:pt x="878387" y="0"/>
                    <a:pt x="871318" y="0"/>
                  </a:cubicBezTo>
                  <a:moveTo>
                    <a:pt x="871318" y="40904"/>
                  </a:moveTo>
                  <a:cubicBezTo>
                    <a:pt x="864250" y="40904"/>
                    <a:pt x="858527" y="46627"/>
                    <a:pt x="858527" y="53695"/>
                  </a:cubicBezTo>
                  <a:cubicBezTo>
                    <a:pt x="858527" y="60763"/>
                    <a:pt x="864250" y="66486"/>
                    <a:pt x="871318" y="66486"/>
                  </a:cubicBezTo>
                  <a:cubicBezTo>
                    <a:pt x="878387" y="66486"/>
                    <a:pt x="884110" y="60763"/>
                    <a:pt x="884110" y="53695"/>
                  </a:cubicBezTo>
                  <a:cubicBezTo>
                    <a:pt x="884110" y="46627"/>
                    <a:pt x="878387" y="40904"/>
                    <a:pt x="871318" y="40904"/>
                  </a:cubicBezTo>
                  <a:moveTo>
                    <a:pt x="871318" y="81831"/>
                  </a:moveTo>
                  <a:cubicBezTo>
                    <a:pt x="864250" y="81831"/>
                    <a:pt x="858527" y="87554"/>
                    <a:pt x="858527" y="94622"/>
                  </a:cubicBezTo>
                  <a:cubicBezTo>
                    <a:pt x="858527" y="101690"/>
                    <a:pt x="864250" y="107413"/>
                    <a:pt x="871318" y="107413"/>
                  </a:cubicBezTo>
                  <a:cubicBezTo>
                    <a:pt x="878387" y="107413"/>
                    <a:pt x="884110" y="101690"/>
                    <a:pt x="884110" y="94622"/>
                  </a:cubicBezTo>
                  <a:cubicBezTo>
                    <a:pt x="884110" y="87554"/>
                    <a:pt x="878387" y="81831"/>
                    <a:pt x="871318" y="81831"/>
                  </a:cubicBezTo>
                  <a:moveTo>
                    <a:pt x="871318" y="122735"/>
                  </a:moveTo>
                  <a:cubicBezTo>
                    <a:pt x="864250" y="122735"/>
                    <a:pt x="858527" y="128458"/>
                    <a:pt x="858527" y="135526"/>
                  </a:cubicBezTo>
                  <a:cubicBezTo>
                    <a:pt x="858527" y="142594"/>
                    <a:pt x="864250" y="148317"/>
                    <a:pt x="871318" y="148317"/>
                  </a:cubicBezTo>
                  <a:cubicBezTo>
                    <a:pt x="878387" y="148317"/>
                    <a:pt x="884110" y="142594"/>
                    <a:pt x="884110" y="135526"/>
                  </a:cubicBezTo>
                  <a:cubicBezTo>
                    <a:pt x="884110" y="128458"/>
                    <a:pt x="878387" y="122735"/>
                    <a:pt x="871318" y="122735"/>
                  </a:cubicBezTo>
                  <a:moveTo>
                    <a:pt x="871318" y="163639"/>
                  </a:moveTo>
                  <a:cubicBezTo>
                    <a:pt x="864250" y="163639"/>
                    <a:pt x="858527" y="169362"/>
                    <a:pt x="858527" y="176430"/>
                  </a:cubicBezTo>
                  <a:cubicBezTo>
                    <a:pt x="858527" y="183498"/>
                    <a:pt x="864250" y="189221"/>
                    <a:pt x="871318" y="189221"/>
                  </a:cubicBezTo>
                  <a:cubicBezTo>
                    <a:pt x="878387" y="189221"/>
                    <a:pt x="884110" y="183498"/>
                    <a:pt x="884110" y="176430"/>
                  </a:cubicBezTo>
                  <a:cubicBezTo>
                    <a:pt x="884110" y="169362"/>
                    <a:pt x="878387" y="163639"/>
                    <a:pt x="871318" y="163639"/>
                  </a:cubicBezTo>
                  <a:moveTo>
                    <a:pt x="871318" y="204543"/>
                  </a:moveTo>
                  <a:cubicBezTo>
                    <a:pt x="864250" y="204543"/>
                    <a:pt x="858527" y="210266"/>
                    <a:pt x="858527" y="217334"/>
                  </a:cubicBezTo>
                  <a:cubicBezTo>
                    <a:pt x="858527" y="224402"/>
                    <a:pt x="864250" y="230125"/>
                    <a:pt x="871318" y="230125"/>
                  </a:cubicBezTo>
                  <a:cubicBezTo>
                    <a:pt x="878387" y="230125"/>
                    <a:pt x="884110" y="224402"/>
                    <a:pt x="884110" y="217334"/>
                  </a:cubicBezTo>
                  <a:cubicBezTo>
                    <a:pt x="884110" y="210266"/>
                    <a:pt x="878387" y="204543"/>
                    <a:pt x="871318" y="204543"/>
                  </a:cubicBezTo>
                  <a:moveTo>
                    <a:pt x="871318" y="245470"/>
                  </a:moveTo>
                  <a:cubicBezTo>
                    <a:pt x="864250" y="245470"/>
                    <a:pt x="858527" y="251192"/>
                    <a:pt x="858527" y="258261"/>
                  </a:cubicBezTo>
                  <a:cubicBezTo>
                    <a:pt x="858527" y="265329"/>
                    <a:pt x="864250" y="271052"/>
                    <a:pt x="871318" y="271052"/>
                  </a:cubicBezTo>
                  <a:cubicBezTo>
                    <a:pt x="878387" y="271052"/>
                    <a:pt x="884110" y="265329"/>
                    <a:pt x="884110" y="258261"/>
                  </a:cubicBezTo>
                  <a:cubicBezTo>
                    <a:pt x="884110" y="251192"/>
                    <a:pt x="878387" y="245470"/>
                    <a:pt x="871318" y="245470"/>
                  </a:cubicBezTo>
                  <a:moveTo>
                    <a:pt x="871318" y="286374"/>
                  </a:moveTo>
                  <a:cubicBezTo>
                    <a:pt x="864250" y="286374"/>
                    <a:pt x="858527" y="292096"/>
                    <a:pt x="858527" y="299165"/>
                  </a:cubicBezTo>
                  <a:cubicBezTo>
                    <a:pt x="858527" y="306233"/>
                    <a:pt x="864250" y="311956"/>
                    <a:pt x="871318" y="311956"/>
                  </a:cubicBezTo>
                  <a:cubicBezTo>
                    <a:pt x="878387" y="311956"/>
                    <a:pt x="884110" y="306233"/>
                    <a:pt x="884110" y="299165"/>
                  </a:cubicBezTo>
                  <a:cubicBezTo>
                    <a:pt x="884110" y="292096"/>
                    <a:pt x="878387" y="286374"/>
                    <a:pt x="871318" y="286374"/>
                  </a:cubicBezTo>
                  <a:moveTo>
                    <a:pt x="871318" y="409108"/>
                  </a:moveTo>
                  <a:cubicBezTo>
                    <a:pt x="864250" y="409108"/>
                    <a:pt x="858527" y="414831"/>
                    <a:pt x="858527" y="421899"/>
                  </a:cubicBezTo>
                  <a:cubicBezTo>
                    <a:pt x="858527" y="428967"/>
                    <a:pt x="864250" y="434690"/>
                    <a:pt x="871318" y="434690"/>
                  </a:cubicBezTo>
                  <a:cubicBezTo>
                    <a:pt x="878387" y="434690"/>
                    <a:pt x="884110" y="428967"/>
                    <a:pt x="884110" y="421899"/>
                  </a:cubicBezTo>
                  <a:cubicBezTo>
                    <a:pt x="884110" y="414831"/>
                    <a:pt x="878387" y="409108"/>
                    <a:pt x="871318" y="409108"/>
                  </a:cubicBezTo>
                  <a:moveTo>
                    <a:pt x="871318" y="450012"/>
                  </a:moveTo>
                  <a:cubicBezTo>
                    <a:pt x="864250" y="450012"/>
                    <a:pt x="858527" y="455735"/>
                    <a:pt x="858527" y="462803"/>
                  </a:cubicBezTo>
                  <a:cubicBezTo>
                    <a:pt x="858527" y="469871"/>
                    <a:pt x="864250" y="475594"/>
                    <a:pt x="871318" y="475594"/>
                  </a:cubicBezTo>
                  <a:cubicBezTo>
                    <a:pt x="878387" y="475594"/>
                    <a:pt x="884110" y="469871"/>
                    <a:pt x="884110" y="462803"/>
                  </a:cubicBezTo>
                  <a:cubicBezTo>
                    <a:pt x="884110" y="455735"/>
                    <a:pt x="878387" y="450012"/>
                    <a:pt x="871318" y="450012"/>
                  </a:cubicBezTo>
                  <a:moveTo>
                    <a:pt x="871318" y="490939"/>
                  </a:moveTo>
                  <a:cubicBezTo>
                    <a:pt x="864250" y="490939"/>
                    <a:pt x="858527" y="496662"/>
                    <a:pt x="858527" y="503730"/>
                  </a:cubicBezTo>
                  <a:cubicBezTo>
                    <a:pt x="858527" y="510798"/>
                    <a:pt x="864250" y="516521"/>
                    <a:pt x="871318" y="516521"/>
                  </a:cubicBezTo>
                  <a:cubicBezTo>
                    <a:pt x="878387" y="516521"/>
                    <a:pt x="884110" y="510798"/>
                    <a:pt x="884110" y="503730"/>
                  </a:cubicBezTo>
                  <a:cubicBezTo>
                    <a:pt x="884110" y="496662"/>
                    <a:pt x="878387" y="490939"/>
                    <a:pt x="871318" y="490939"/>
                  </a:cubicBezTo>
                  <a:moveTo>
                    <a:pt x="871318" y="531843"/>
                  </a:moveTo>
                  <a:cubicBezTo>
                    <a:pt x="864250" y="531843"/>
                    <a:pt x="858527" y="537566"/>
                    <a:pt x="858527" y="544634"/>
                  </a:cubicBezTo>
                  <a:cubicBezTo>
                    <a:pt x="858527" y="551702"/>
                    <a:pt x="864250" y="557425"/>
                    <a:pt x="871318" y="557425"/>
                  </a:cubicBezTo>
                  <a:cubicBezTo>
                    <a:pt x="878387" y="557425"/>
                    <a:pt x="884110" y="551702"/>
                    <a:pt x="884110" y="544634"/>
                  </a:cubicBezTo>
                  <a:cubicBezTo>
                    <a:pt x="884110" y="537566"/>
                    <a:pt x="878387" y="531843"/>
                    <a:pt x="871318" y="531843"/>
                  </a:cubicBezTo>
                  <a:moveTo>
                    <a:pt x="871318" y="572747"/>
                  </a:moveTo>
                  <a:cubicBezTo>
                    <a:pt x="864250" y="572747"/>
                    <a:pt x="858527" y="578470"/>
                    <a:pt x="858527" y="585538"/>
                  </a:cubicBezTo>
                  <a:cubicBezTo>
                    <a:pt x="858527" y="592606"/>
                    <a:pt x="864250" y="598329"/>
                    <a:pt x="871318" y="598329"/>
                  </a:cubicBezTo>
                  <a:cubicBezTo>
                    <a:pt x="878387" y="598329"/>
                    <a:pt x="884110" y="592606"/>
                    <a:pt x="884110" y="585538"/>
                  </a:cubicBezTo>
                  <a:cubicBezTo>
                    <a:pt x="884110" y="578470"/>
                    <a:pt x="878387" y="572747"/>
                    <a:pt x="871318" y="572747"/>
                  </a:cubicBezTo>
                  <a:moveTo>
                    <a:pt x="871318" y="613674"/>
                  </a:moveTo>
                  <a:cubicBezTo>
                    <a:pt x="864250" y="613674"/>
                    <a:pt x="858527" y="619397"/>
                    <a:pt x="858527" y="626465"/>
                  </a:cubicBezTo>
                  <a:cubicBezTo>
                    <a:pt x="858527" y="633533"/>
                    <a:pt x="864250" y="639256"/>
                    <a:pt x="871318" y="639256"/>
                  </a:cubicBezTo>
                  <a:cubicBezTo>
                    <a:pt x="878387" y="639256"/>
                    <a:pt x="884110" y="633533"/>
                    <a:pt x="884110" y="626465"/>
                  </a:cubicBezTo>
                  <a:cubicBezTo>
                    <a:pt x="884110" y="619397"/>
                    <a:pt x="878387" y="613674"/>
                    <a:pt x="871318" y="613674"/>
                  </a:cubicBezTo>
                  <a:moveTo>
                    <a:pt x="871318" y="654578"/>
                  </a:moveTo>
                  <a:cubicBezTo>
                    <a:pt x="864250" y="654578"/>
                    <a:pt x="858527" y="660301"/>
                    <a:pt x="858527" y="667369"/>
                  </a:cubicBezTo>
                  <a:cubicBezTo>
                    <a:pt x="858527" y="674437"/>
                    <a:pt x="864250" y="680160"/>
                    <a:pt x="871318" y="680160"/>
                  </a:cubicBezTo>
                  <a:cubicBezTo>
                    <a:pt x="878387" y="680160"/>
                    <a:pt x="884110" y="674437"/>
                    <a:pt x="884110" y="667369"/>
                  </a:cubicBezTo>
                  <a:cubicBezTo>
                    <a:pt x="884110" y="660301"/>
                    <a:pt x="878387" y="654578"/>
                    <a:pt x="871318" y="654578"/>
                  </a:cubicBezTo>
                  <a:moveTo>
                    <a:pt x="871318" y="695482"/>
                  </a:moveTo>
                  <a:cubicBezTo>
                    <a:pt x="864250" y="695482"/>
                    <a:pt x="858527" y="701205"/>
                    <a:pt x="858527" y="708273"/>
                  </a:cubicBezTo>
                  <a:cubicBezTo>
                    <a:pt x="858527" y="715341"/>
                    <a:pt x="864250" y="721064"/>
                    <a:pt x="871318" y="721064"/>
                  </a:cubicBezTo>
                  <a:cubicBezTo>
                    <a:pt x="878387" y="721064"/>
                    <a:pt x="884110" y="715341"/>
                    <a:pt x="884110" y="708273"/>
                  </a:cubicBezTo>
                  <a:cubicBezTo>
                    <a:pt x="884110" y="701205"/>
                    <a:pt x="878387" y="695482"/>
                    <a:pt x="871318" y="695482"/>
                  </a:cubicBezTo>
                  <a:moveTo>
                    <a:pt x="871318" y="736386"/>
                  </a:moveTo>
                  <a:cubicBezTo>
                    <a:pt x="864250" y="736386"/>
                    <a:pt x="858527" y="742109"/>
                    <a:pt x="858527" y="749177"/>
                  </a:cubicBezTo>
                  <a:cubicBezTo>
                    <a:pt x="858527" y="756245"/>
                    <a:pt x="864250" y="761968"/>
                    <a:pt x="871318" y="761968"/>
                  </a:cubicBezTo>
                  <a:cubicBezTo>
                    <a:pt x="878387" y="761968"/>
                    <a:pt x="884110" y="756245"/>
                    <a:pt x="884110" y="749177"/>
                  </a:cubicBezTo>
                  <a:cubicBezTo>
                    <a:pt x="884110" y="742109"/>
                    <a:pt x="878387" y="736386"/>
                    <a:pt x="871318" y="736386"/>
                  </a:cubicBezTo>
                  <a:moveTo>
                    <a:pt x="871318" y="777313"/>
                  </a:moveTo>
                  <a:cubicBezTo>
                    <a:pt x="864250" y="777313"/>
                    <a:pt x="858527" y="783035"/>
                    <a:pt x="858527" y="790104"/>
                  </a:cubicBezTo>
                  <a:cubicBezTo>
                    <a:pt x="858527" y="797172"/>
                    <a:pt x="864250" y="802895"/>
                    <a:pt x="871318" y="802895"/>
                  </a:cubicBezTo>
                  <a:cubicBezTo>
                    <a:pt x="878387" y="802895"/>
                    <a:pt x="884110" y="797172"/>
                    <a:pt x="884110" y="790104"/>
                  </a:cubicBezTo>
                  <a:cubicBezTo>
                    <a:pt x="884110" y="783035"/>
                    <a:pt x="878387" y="777313"/>
                    <a:pt x="871318" y="777313"/>
                  </a:cubicBezTo>
                  <a:moveTo>
                    <a:pt x="871318" y="818217"/>
                  </a:moveTo>
                  <a:cubicBezTo>
                    <a:pt x="864250" y="818217"/>
                    <a:pt x="858527" y="823939"/>
                    <a:pt x="858527" y="831008"/>
                  </a:cubicBezTo>
                  <a:cubicBezTo>
                    <a:pt x="858527" y="838076"/>
                    <a:pt x="864250" y="843799"/>
                    <a:pt x="871318" y="843799"/>
                  </a:cubicBezTo>
                  <a:cubicBezTo>
                    <a:pt x="878387" y="843799"/>
                    <a:pt x="884110" y="838076"/>
                    <a:pt x="884110" y="831008"/>
                  </a:cubicBezTo>
                  <a:cubicBezTo>
                    <a:pt x="884110" y="823939"/>
                    <a:pt x="878387" y="818217"/>
                    <a:pt x="871318" y="818217"/>
                  </a:cubicBezTo>
                  <a:moveTo>
                    <a:pt x="871318" y="859121"/>
                  </a:moveTo>
                  <a:cubicBezTo>
                    <a:pt x="864250" y="859121"/>
                    <a:pt x="858527" y="864843"/>
                    <a:pt x="858527" y="871912"/>
                  </a:cubicBezTo>
                  <a:cubicBezTo>
                    <a:pt x="858527" y="878980"/>
                    <a:pt x="864250" y="884703"/>
                    <a:pt x="871318" y="884703"/>
                  </a:cubicBezTo>
                  <a:cubicBezTo>
                    <a:pt x="878387" y="884703"/>
                    <a:pt x="884110" y="878980"/>
                    <a:pt x="884110" y="871912"/>
                  </a:cubicBezTo>
                  <a:cubicBezTo>
                    <a:pt x="884110" y="864843"/>
                    <a:pt x="878387" y="859121"/>
                    <a:pt x="871318" y="859121"/>
                  </a:cubicBezTo>
                  <a:moveTo>
                    <a:pt x="830414" y="0"/>
                  </a:moveTo>
                  <a:cubicBezTo>
                    <a:pt x="823346" y="0"/>
                    <a:pt x="817623" y="5723"/>
                    <a:pt x="817623" y="12791"/>
                  </a:cubicBezTo>
                  <a:cubicBezTo>
                    <a:pt x="817623" y="19859"/>
                    <a:pt x="823346" y="25582"/>
                    <a:pt x="830414" y="25582"/>
                  </a:cubicBezTo>
                  <a:cubicBezTo>
                    <a:pt x="837483" y="25582"/>
                    <a:pt x="843206" y="19859"/>
                    <a:pt x="843206" y="12791"/>
                  </a:cubicBezTo>
                  <a:cubicBezTo>
                    <a:pt x="843206" y="5723"/>
                    <a:pt x="837483" y="0"/>
                    <a:pt x="830414" y="0"/>
                  </a:cubicBezTo>
                  <a:moveTo>
                    <a:pt x="830414" y="40904"/>
                  </a:moveTo>
                  <a:cubicBezTo>
                    <a:pt x="823346" y="40904"/>
                    <a:pt x="817623" y="46627"/>
                    <a:pt x="817623" y="53695"/>
                  </a:cubicBezTo>
                  <a:cubicBezTo>
                    <a:pt x="817623" y="60763"/>
                    <a:pt x="823346" y="66486"/>
                    <a:pt x="830414" y="66486"/>
                  </a:cubicBezTo>
                  <a:cubicBezTo>
                    <a:pt x="837483" y="66486"/>
                    <a:pt x="843206" y="60763"/>
                    <a:pt x="843206" y="53695"/>
                  </a:cubicBezTo>
                  <a:cubicBezTo>
                    <a:pt x="843206" y="46627"/>
                    <a:pt x="837483" y="40904"/>
                    <a:pt x="830414" y="40904"/>
                  </a:cubicBezTo>
                  <a:moveTo>
                    <a:pt x="830414" y="81831"/>
                  </a:moveTo>
                  <a:cubicBezTo>
                    <a:pt x="823346" y="81831"/>
                    <a:pt x="817623" y="87554"/>
                    <a:pt x="817623" y="94622"/>
                  </a:cubicBezTo>
                  <a:cubicBezTo>
                    <a:pt x="817623" y="101690"/>
                    <a:pt x="823346" y="107413"/>
                    <a:pt x="830414" y="107413"/>
                  </a:cubicBezTo>
                  <a:cubicBezTo>
                    <a:pt x="837483" y="107413"/>
                    <a:pt x="843206" y="101690"/>
                    <a:pt x="843206" y="94622"/>
                  </a:cubicBezTo>
                  <a:cubicBezTo>
                    <a:pt x="843206" y="87554"/>
                    <a:pt x="837483" y="81831"/>
                    <a:pt x="830414" y="81831"/>
                  </a:cubicBezTo>
                  <a:moveTo>
                    <a:pt x="830414" y="122735"/>
                  </a:moveTo>
                  <a:cubicBezTo>
                    <a:pt x="823346" y="122735"/>
                    <a:pt x="817623" y="128458"/>
                    <a:pt x="817623" y="135526"/>
                  </a:cubicBezTo>
                  <a:cubicBezTo>
                    <a:pt x="817623" y="142594"/>
                    <a:pt x="823346" y="148317"/>
                    <a:pt x="830414" y="148317"/>
                  </a:cubicBezTo>
                  <a:cubicBezTo>
                    <a:pt x="837483" y="148317"/>
                    <a:pt x="843206" y="142594"/>
                    <a:pt x="843206" y="135526"/>
                  </a:cubicBezTo>
                  <a:cubicBezTo>
                    <a:pt x="843206" y="128458"/>
                    <a:pt x="837483" y="122735"/>
                    <a:pt x="830414" y="122735"/>
                  </a:cubicBezTo>
                  <a:moveTo>
                    <a:pt x="830414" y="163639"/>
                  </a:moveTo>
                  <a:cubicBezTo>
                    <a:pt x="823346" y="163639"/>
                    <a:pt x="817623" y="169362"/>
                    <a:pt x="817623" y="176430"/>
                  </a:cubicBezTo>
                  <a:cubicBezTo>
                    <a:pt x="817623" y="183498"/>
                    <a:pt x="823346" y="189221"/>
                    <a:pt x="830414" y="189221"/>
                  </a:cubicBezTo>
                  <a:cubicBezTo>
                    <a:pt x="837483" y="189221"/>
                    <a:pt x="843206" y="183498"/>
                    <a:pt x="843206" y="176430"/>
                  </a:cubicBezTo>
                  <a:cubicBezTo>
                    <a:pt x="843206" y="169362"/>
                    <a:pt x="837483" y="163639"/>
                    <a:pt x="830414" y="163639"/>
                  </a:cubicBezTo>
                  <a:moveTo>
                    <a:pt x="830414" y="204543"/>
                  </a:moveTo>
                  <a:cubicBezTo>
                    <a:pt x="823346" y="204543"/>
                    <a:pt x="817623" y="210266"/>
                    <a:pt x="817623" y="217334"/>
                  </a:cubicBezTo>
                  <a:cubicBezTo>
                    <a:pt x="817623" y="224402"/>
                    <a:pt x="823346" y="230125"/>
                    <a:pt x="830414" y="230125"/>
                  </a:cubicBezTo>
                  <a:cubicBezTo>
                    <a:pt x="837483" y="230125"/>
                    <a:pt x="843206" y="224402"/>
                    <a:pt x="843206" y="217334"/>
                  </a:cubicBezTo>
                  <a:cubicBezTo>
                    <a:pt x="843206" y="210266"/>
                    <a:pt x="837483" y="204543"/>
                    <a:pt x="830414" y="204543"/>
                  </a:cubicBezTo>
                  <a:moveTo>
                    <a:pt x="830414" y="245470"/>
                  </a:moveTo>
                  <a:cubicBezTo>
                    <a:pt x="823346" y="245470"/>
                    <a:pt x="817623" y="251192"/>
                    <a:pt x="817623" y="258261"/>
                  </a:cubicBezTo>
                  <a:cubicBezTo>
                    <a:pt x="817623" y="265329"/>
                    <a:pt x="823346" y="271052"/>
                    <a:pt x="830414" y="271052"/>
                  </a:cubicBezTo>
                  <a:cubicBezTo>
                    <a:pt x="837483" y="271052"/>
                    <a:pt x="843206" y="265329"/>
                    <a:pt x="843206" y="258261"/>
                  </a:cubicBezTo>
                  <a:cubicBezTo>
                    <a:pt x="843206" y="251192"/>
                    <a:pt x="837483" y="245470"/>
                    <a:pt x="830414" y="245470"/>
                  </a:cubicBezTo>
                  <a:moveTo>
                    <a:pt x="830414" y="286374"/>
                  </a:moveTo>
                  <a:cubicBezTo>
                    <a:pt x="823346" y="286374"/>
                    <a:pt x="817623" y="292096"/>
                    <a:pt x="817623" y="299165"/>
                  </a:cubicBezTo>
                  <a:cubicBezTo>
                    <a:pt x="817623" y="306233"/>
                    <a:pt x="823346" y="311956"/>
                    <a:pt x="830414" y="311956"/>
                  </a:cubicBezTo>
                  <a:cubicBezTo>
                    <a:pt x="837483" y="311956"/>
                    <a:pt x="843206" y="306233"/>
                    <a:pt x="843206" y="299165"/>
                  </a:cubicBezTo>
                  <a:cubicBezTo>
                    <a:pt x="843206" y="292096"/>
                    <a:pt x="837483" y="286374"/>
                    <a:pt x="830414" y="286374"/>
                  </a:cubicBezTo>
                  <a:moveTo>
                    <a:pt x="830414" y="327277"/>
                  </a:moveTo>
                  <a:cubicBezTo>
                    <a:pt x="823346" y="327277"/>
                    <a:pt x="817623" y="333000"/>
                    <a:pt x="817623" y="340069"/>
                  </a:cubicBezTo>
                  <a:cubicBezTo>
                    <a:pt x="817623" y="347137"/>
                    <a:pt x="823346" y="352860"/>
                    <a:pt x="830414" y="352860"/>
                  </a:cubicBezTo>
                  <a:cubicBezTo>
                    <a:pt x="837483" y="352860"/>
                    <a:pt x="843206" y="347137"/>
                    <a:pt x="843206" y="340069"/>
                  </a:cubicBezTo>
                  <a:cubicBezTo>
                    <a:pt x="843206" y="333000"/>
                    <a:pt x="837483" y="327277"/>
                    <a:pt x="830414" y="327277"/>
                  </a:cubicBezTo>
                  <a:moveTo>
                    <a:pt x="830414" y="409108"/>
                  </a:moveTo>
                  <a:cubicBezTo>
                    <a:pt x="823346" y="409108"/>
                    <a:pt x="817623" y="414831"/>
                    <a:pt x="817623" y="421899"/>
                  </a:cubicBezTo>
                  <a:cubicBezTo>
                    <a:pt x="817623" y="428967"/>
                    <a:pt x="823346" y="434690"/>
                    <a:pt x="830414" y="434690"/>
                  </a:cubicBezTo>
                  <a:cubicBezTo>
                    <a:pt x="837483" y="434690"/>
                    <a:pt x="843206" y="428967"/>
                    <a:pt x="843206" y="421899"/>
                  </a:cubicBezTo>
                  <a:cubicBezTo>
                    <a:pt x="843206" y="414831"/>
                    <a:pt x="837483" y="409108"/>
                    <a:pt x="830414" y="409108"/>
                  </a:cubicBezTo>
                  <a:moveTo>
                    <a:pt x="830414" y="450012"/>
                  </a:moveTo>
                  <a:cubicBezTo>
                    <a:pt x="823346" y="450012"/>
                    <a:pt x="817623" y="455735"/>
                    <a:pt x="817623" y="462803"/>
                  </a:cubicBezTo>
                  <a:cubicBezTo>
                    <a:pt x="817623" y="469871"/>
                    <a:pt x="823346" y="475594"/>
                    <a:pt x="830414" y="475594"/>
                  </a:cubicBezTo>
                  <a:cubicBezTo>
                    <a:pt x="837483" y="475594"/>
                    <a:pt x="843206" y="469871"/>
                    <a:pt x="843206" y="462803"/>
                  </a:cubicBezTo>
                  <a:cubicBezTo>
                    <a:pt x="843206" y="455735"/>
                    <a:pt x="837483" y="450012"/>
                    <a:pt x="830414" y="450012"/>
                  </a:cubicBezTo>
                  <a:moveTo>
                    <a:pt x="830414" y="490939"/>
                  </a:moveTo>
                  <a:cubicBezTo>
                    <a:pt x="823346" y="490939"/>
                    <a:pt x="817623" y="496662"/>
                    <a:pt x="817623" y="503730"/>
                  </a:cubicBezTo>
                  <a:cubicBezTo>
                    <a:pt x="817623" y="510798"/>
                    <a:pt x="823346" y="516521"/>
                    <a:pt x="830414" y="516521"/>
                  </a:cubicBezTo>
                  <a:cubicBezTo>
                    <a:pt x="837483" y="516521"/>
                    <a:pt x="843206" y="510798"/>
                    <a:pt x="843206" y="503730"/>
                  </a:cubicBezTo>
                  <a:cubicBezTo>
                    <a:pt x="843206" y="496662"/>
                    <a:pt x="837483" y="490939"/>
                    <a:pt x="830414" y="490939"/>
                  </a:cubicBezTo>
                  <a:moveTo>
                    <a:pt x="830414" y="531843"/>
                  </a:moveTo>
                  <a:cubicBezTo>
                    <a:pt x="823346" y="531843"/>
                    <a:pt x="817623" y="537566"/>
                    <a:pt x="817623" y="544634"/>
                  </a:cubicBezTo>
                  <a:cubicBezTo>
                    <a:pt x="817623" y="551702"/>
                    <a:pt x="823346" y="557425"/>
                    <a:pt x="830414" y="557425"/>
                  </a:cubicBezTo>
                  <a:cubicBezTo>
                    <a:pt x="837483" y="557425"/>
                    <a:pt x="843206" y="551702"/>
                    <a:pt x="843206" y="544634"/>
                  </a:cubicBezTo>
                  <a:cubicBezTo>
                    <a:pt x="843206" y="537566"/>
                    <a:pt x="837483" y="531843"/>
                    <a:pt x="830414" y="531843"/>
                  </a:cubicBezTo>
                  <a:moveTo>
                    <a:pt x="830414" y="572747"/>
                  </a:moveTo>
                  <a:cubicBezTo>
                    <a:pt x="823346" y="572747"/>
                    <a:pt x="817623" y="578470"/>
                    <a:pt x="817623" y="585538"/>
                  </a:cubicBezTo>
                  <a:cubicBezTo>
                    <a:pt x="817623" y="592606"/>
                    <a:pt x="823346" y="598329"/>
                    <a:pt x="830414" y="598329"/>
                  </a:cubicBezTo>
                  <a:cubicBezTo>
                    <a:pt x="837483" y="598329"/>
                    <a:pt x="843206" y="592606"/>
                    <a:pt x="843206" y="585538"/>
                  </a:cubicBezTo>
                  <a:cubicBezTo>
                    <a:pt x="843206" y="578470"/>
                    <a:pt x="837483" y="572747"/>
                    <a:pt x="830414" y="572747"/>
                  </a:cubicBezTo>
                  <a:moveTo>
                    <a:pt x="830414" y="613674"/>
                  </a:moveTo>
                  <a:cubicBezTo>
                    <a:pt x="823346" y="613674"/>
                    <a:pt x="817623" y="619397"/>
                    <a:pt x="817623" y="626465"/>
                  </a:cubicBezTo>
                  <a:cubicBezTo>
                    <a:pt x="817623" y="633533"/>
                    <a:pt x="823346" y="639256"/>
                    <a:pt x="830414" y="639256"/>
                  </a:cubicBezTo>
                  <a:cubicBezTo>
                    <a:pt x="837483" y="639256"/>
                    <a:pt x="843206" y="633533"/>
                    <a:pt x="843206" y="626465"/>
                  </a:cubicBezTo>
                  <a:cubicBezTo>
                    <a:pt x="843206" y="619397"/>
                    <a:pt x="837483" y="613674"/>
                    <a:pt x="830414" y="613674"/>
                  </a:cubicBezTo>
                  <a:moveTo>
                    <a:pt x="830414" y="654578"/>
                  </a:moveTo>
                  <a:cubicBezTo>
                    <a:pt x="823346" y="654578"/>
                    <a:pt x="817623" y="660301"/>
                    <a:pt x="817623" y="667369"/>
                  </a:cubicBezTo>
                  <a:cubicBezTo>
                    <a:pt x="817623" y="674437"/>
                    <a:pt x="823346" y="680160"/>
                    <a:pt x="830414" y="680160"/>
                  </a:cubicBezTo>
                  <a:cubicBezTo>
                    <a:pt x="837483" y="680160"/>
                    <a:pt x="843206" y="674437"/>
                    <a:pt x="843206" y="667369"/>
                  </a:cubicBezTo>
                  <a:cubicBezTo>
                    <a:pt x="843206" y="660301"/>
                    <a:pt x="837483" y="654578"/>
                    <a:pt x="830414" y="654578"/>
                  </a:cubicBezTo>
                  <a:moveTo>
                    <a:pt x="830414" y="695482"/>
                  </a:moveTo>
                  <a:cubicBezTo>
                    <a:pt x="823346" y="695482"/>
                    <a:pt x="817623" y="701205"/>
                    <a:pt x="817623" y="708273"/>
                  </a:cubicBezTo>
                  <a:cubicBezTo>
                    <a:pt x="817623" y="715341"/>
                    <a:pt x="823346" y="721064"/>
                    <a:pt x="830414" y="721064"/>
                  </a:cubicBezTo>
                  <a:cubicBezTo>
                    <a:pt x="837483" y="721064"/>
                    <a:pt x="843206" y="715341"/>
                    <a:pt x="843206" y="708273"/>
                  </a:cubicBezTo>
                  <a:cubicBezTo>
                    <a:pt x="843206" y="701205"/>
                    <a:pt x="837483" y="695482"/>
                    <a:pt x="830414" y="695482"/>
                  </a:cubicBezTo>
                  <a:moveTo>
                    <a:pt x="830414" y="736386"/>
                  </a:moveTo>
                  <a:cubicBezTo>
                    <a:pt x="823346" y="736386"/>
                    <a:pt x="817623" y="742109"/>
                    <a:pt x="817623" y="749177"/>
                  </a:cubicBezTo>
                  <a:cubicBezTo>
                    <a:pt x="817623" y="756245"/>
                    <a:pt x="823346" y="761968"/>
                    <a:pt x="830414" y="761968"/>
                  </a:cubicBezTo>
                  <a:cubicBezTo>
                    <a:pt x="837483" y="761968"/>
                    <a:pt x="843206" y="756245"/>
                    <a:pt x="843206" y="749177"/>
                  </a:cubicBezTo>
                  <a:cubicBezTo>
                    <a:pt x="843206" y="742109"/>
                    <a:pt x="837483" y="736386"/>
                    <a:pt x="830414" y="736386"/>
                  </a:cubicBezTo>
                  <a:moveTo>
                    <a:pt x="830414" y="777313"/>
                  </a:moveTo>
                  <a:cubicBezTo>
                    <a:pt x="823346" y="777313"/>
                    <a:pt x="817623" y="783035"/>
                    <a:pt x="817623" y="790104"/>
                  </a:cubicBezTo>
                  <a:cubicBezTo>
                    <a:pt x="817623" y="797172"/>
                    <a:pt x="823346" y="802895"/>
                    <a:pt x="830414" y="802895"/>
                  </a:cubicBezTo>
                  <a:cubicBezTo>
                    <a:pt x="837483" y="802895"/>
                    <a:pt x="843206" y="797172"/>
                    <a:pt x="843206" y="790104"/>
                  </a:cubicBezTo>
                  <a:cubicBezTo>
                    <a:pt x="843206" y="783035"/>
                    <a:pt x="837483" y="777313"/>
                    <a:pt x="830414" y="777313"/>
                  </a:cubicBezTo>
                  <a:moveTo>
                    <a:pt x="830414" y="818217"/>
                  </a:moveTo>
                  <a:cubicBezTo>
                    <a:pt x="823346" y="818217"/>
                    <a:pt x="817623" y="823939"/>
                    <a:pt x="817623" y="831008"/>
                  </a:cubicBezTo>
                  <a:cubicBezTo>
                    <a:pt x="817623" y="838076"/>
                    <a:pt x="823346" y="843799"/>
                    <a:pt x="830414" y="843799"/>
                  </a:cubicBezTo>
                  <a:cubicBezTo>
                    <a:pt x="837483" y="843799"/>
                    <a:pt x="843206" y="838076"/>
                    <a:pt x="843206" y="831008"/>
                  </a:cubicBezTo>
                  <a:cubicBezTo>
                    <a:pt x="843206" y="823939"/>
                    <a:pt x="837483" y="818217"/>
                    <a:pt x="830414" y="818217"/>
                  </a:cubicBezTo>
                  <a:moveTo>
                    <a:pt x="830414" y="859121"/>
                  </a:moveTo>
                  <a:cubicBezTo>
                    <a:pt x="823346" y="859121"/>
                    <a:pt x="817623" y="864843"/>
                    <a:pt x="817623" y="871912"/>
                  </a:cubicBezTo>
                  <a:cubicBezTo>
                    <a:pt x="817623" y="878980"/>
                    <a:pt x="823346" y="884703"/>
                    <a:pt x="830414" y="884703"/>
                  </a:cubicBezTo>
                  <a:cubicBezTo>
                    <a:pt x="837483" y="884703"/>
                    <a:pt x="843206" y="878980"/>
                    <a:pt x="843206" y="871912"/>
                  </a:cubicBezTo>
                  <a:cubicBezTo>
                    <a:pt x="843206" y="864843"/>
                    <a:pt x="837483" y="859121"/>
                    <a:pt x="830414" y="859121"/>
                  </a:cubicBezTo>
                  <a:moveTo>
                    <a:pt x="789510" y="40904"/>
                  </a:moveTo>
                  <a:cubicBezTo>
                    <a:pt x="782442" y="40904"/>
                    <a:pt x="776719" y="46627"/>
                    <a:pt x="776719" y="53695"/>
                  </a:cubicBezTo>
                  <a:cubicBezTo>
                    <a:pt x="776719" y="60763"/>
                    <a:pt x="782442" y="66486"/>
                    <a:pt x="789510" y="66486"/>
                  </a:cubicBezTo>
                  <a:cubicBezTo>
                    <a:pt x="796579" y="66486"/>
                    <a:pt x="802302" y="60763"/>
                    <a:pt x="802302" y="53695"/>
                  </a:cubicBezTo>
                  <a:cubicBezTo>
                    <a:pt x="802302" y="46627"/>
                    <a:pt x="796579" y="40904"/>
                    <a:pt x="789510" y="40904"/>
                  </a:cubicBezTo>
                  <a:moveTo>
                    <a:pt x="789510" y="81831"/>
                  </a:moveTo>
                  <a:cubicBezTo>
                    <a:pt x="782442" y="81831"/>
                    <a:pt x="776719" y="87554"/>
                    <a:pt x="776719" y="94622"/>
                  </a:cubicBezTo>
                  <a:cubicBezTo>
                    <a:pt x="776719" y="101690"/>
                    <a:pt x="782442" y="107413"/>
                    <a:pt x="789510" y="107413"/>
                  </a:cubicBezTo>
                  <a:cubicBezTo>
                    <a:pt x="796579" y="107413"/>
                    <a:pt x="802302" y="101690"/>
                    <a:pt x="802302" y="94622"/>
                  </a:cubicBezTo>
                  <a:cubicBezTo>
                    <a:pt x="802302" y="87554"/>
                    <a:pt x="796579" y="81831"/>
                    <a:pt x="789510" y="81831"/>
                  </a:cubicBezTo>
                  <a:moveTo>
                    <a:pt x="789510" y="122735"/>
                  </a:moveTo>
                  <a:cubicBezTo>
                    <a:pt x="782442" y="122735"/>
                    <a:pt x="776719" y="128458"/>
                    <a:pt x="776719" y="135526"/>
                  </a:cubicBezTo>
                  <a:cubicBezTo>
                    <a:pt x="776719" y="142594"/>
                    <a:pt x="782442" y="148317"/>
                    <a:pt x="789510" y="148317"/>
                  </a:cubicBezTo>
                  <a:cubicBezTo>
                    <a:pt x="796579" y="148317"/>
                    <a:pt x="802302" y="142594"/>
                    <a:pt x="802302" y="135526"/>
                  </a:cubicBezTo>
                  <a:cubicBezTo>
                    <a:pt x="802302" y="128458"/>
                    <a:pt x="796579" y="122735"/>
                    <a:pt x="789510" y="122735"/>
                  </a:cubicBezTo>
                  <a:moveTo>
                    <a:pt x="789510" y="163639"/>
                  </a:moveTo>
                  <a:cubicBezTo>
                    <a:pt x="782442" y="163639"/>
                    <a:pt x="776719" y="169362"/>
                    <a:pt x="776719" y="176430"/>
                  </a:cubicBezTo>
                  <a:cubicBezTo>
                    <a:pt x="776719" y="183498"/>
                    <a:pt x="782442" y="189221"/>
                    <a:pt x="789510" y="189221"/>
                  </a:cubicBezTo>
                  <a:cubicBezTo>
                    <a:pt x="796579" y="189221"/>
                    <a:pt x="802302" y="183498"/>
                    <a:pt x="802302" y="176430"/>
                  </a:cubicBezTo>
                  <a:cubicBezTo>
                    <a:pt x="802302" y="169362"/>
                    <a:pt x="796579" y="163639"/>
                    <a:pt x="789510" y="163639"/>
                  </a:cubicBezTo>
                  <a:moveTo>
                    <a:pt x="789510" y="204543"/>
                  </a:moveTo>
                  <a:cubicBezTo>
                    <a:pt x="782442" y="204543"/>
                    <a:pt x="776719" y="210266"/>
                    <a:pt x="776719" y="217334"/>
                  </a:cubicBezTo>
                  <a:cubicBezTo>
                    <a:pt x="776719" y="224402"/>
                    <a:pt x="782442" y="230125"/>
                    <a:pt x="789510" y="230125"/>
                  </a:cubicBezTo>
                  <a:cubicBezTo>
                    <a:pt x="796579" y="230125"/>
                    <a:pt x="802302" y="224402"/>
                    <a:pt x="802302" y="217334"/>
                  </a:cubicBezTo>
                  <a:cubicBezTo>
                    <a:pt x="802302" y="210266"/>
                    <a:pt x="796579" y="204543"/>
                    <a:pt x="789510" y="204543"/>
                  </a:cubicBezTo>
                  <a:moveTo>
                    <a:pt x="789510" y="245470"/>
                  </a:moveTo>
                  <a:cubicBezTo>
                    <a:pt x="782442" y="245470"/>
                    <a:pt x="776719" y="251192"/>
                    <a:pt x="776719" y="258261"/>
                  </a:cubicBezTo>
                  <a:cubicBezTo>
                    <a:pt x="776719" y="265329"/>
                    <a:pt x="782442" y="271052"/>
                    <a:pt x="789510" y="271052"/>
                  </a:cubicBezTo>
                  <a:cubicBezTo>
                    <a:pt x="796579" y="271052"/>
                    <a:pt x="802302" y="265329"/>
                    <a:pt x="802302" y="258261"/>
                  </a:cubicBezTo>
                  <a:cubicBezTo>
                    <a:pt x="802302" y="251192"/>
                    <a:pt x="796579" y="245470"/>
                    <a:pt x="789510" y="245470"/>
                  </a:cubicBezTo>
                  <a:moveTo>
                    <a:pt x="789510" y="286374"/>
                  </a:moveTo>
                  <a:cubicBezTo>
                    <a:pt x="782442" y="286374"/>
                    <a:pt x="776719" y="292096"/>
                    <a:pt x="776719" y="299165"/>
                  </a:cubicBezTo>
                  <a:cubicBezTo>
                    <a:pt x="776719" y="306233"/>
                    <a:pt x="782442" y="311956"/>
                    <a:pt x="789510" y="311956"/>
                  </a:cubicBezTo>
                  <a:cubicBezTo>
                    <a:pt x="796579" y="311956"/>
                    <a:pt x="802302" y="306233"/>
                    <a:pt x="802302" y="299165"/>
                  </a:cubicBezTo>
                  <a:cubicBezTo>
                    <a:pt x="802302" y="292096"/>
                    <a:pt x="796579" y="286374"/>
                    <a:pt x="789510" y="286374"/>
                  </a:cubicBezTo>
                  <a:moveTo>
                    <a:pt x="789510" y="327277"/>
                  </a:moveTo>
                  <a:cubicBezTo>
                    <a:pt x="782442" y="327277"/>
                    <a:pt x="776719" y="333000"/>
                    <a:pt x="776719" y="340069"/>
                  </a:cubicBezTo>
                  <a:cubicBezTo>
                    <a:pt x="776719" y="347137"/>
                    <a:pt x="782442" y="352860"/>
                    <a:pt x="789510" y="352860"/>
                  </a:cubicBezTo>
                  <a:cubicBezTo>
                    <a:pt x="796579" y="352860"/>
                    <a:pt x="802302" y="347137"/>
                    <a:pt x="802302" y="340069"/>
                  </a:cubicBezTo>
                  <a:cubicBezTo>
                    <a:pt x="802302" y="333000"/>
                    <a:pt x="796579" y="327277"/>
                    <a:pt x="789510" y="327277"/>
                  </a:cubicBezTo>
                  <a:moveTo>
                    <a:pt x="789510" y="368204"/>
                  </a:moveTo>
                  <a:cubicBezTo>
                    <a:pt x="782442" y="368204"/>
                    <a:pt x="776719" y="373927"/>
                    <a:pt x="776719" y="380995"/>
                  </a:cubicBezTo>
                  <a:cubicBezTo>
                    <a:pt x="776719" y="388063"/>
                    <a:pt x="782442" y="393786"/>
                    <a:pt x="789510" y="393786"/>
                  </a:cubicBezTo>
                  <a:cubicBezTo>
                    <a:pt x="796579" y="393786"/>
                    <a:pt x="802302" y="388063"/>
                    <a:pt x="802302" y="380995"/>
                  </a:cubicBezTo>
                  <a:cubicBezTo>
                    <a:pt x="802302" y="373927"/>
                    <a:pt x="796579" y="368204"/>
                    <a:pt x="789510" y="368204"/>
                  </a:cubicBezTo>
                  <a:moveTo>
                    <a:pt x="789510" y="409108"/>
                  </a:moveTo>
                  <a:cubicBezTo>
                    <a:pt x="782442" y="409108"/>
                    <a:pt x="776719" y="414831"/>
                    <a:pt x="776719" y="421899"/>
                  </a:cubicBezTo>
                  <a:cubicBezTo>
                    <a:pt x="776719" y="428967"/>
                    <a:pt x="782442" y="434690"/>
                    <a:pt x="789510" y="434690"/>
                  </a:cubicBezTo>
                  <a:cubicBezTo>
                    <a:pt x="796579" y="434690"/>
                    <a:pt x="802302" y="428967"/>
                    <a:pt x="802302" y="421899"/>
                  </a:cubicBezTo>
                  <a:cubicBezTo>
                    <a:pt x="802302" y="414831"/>
                    <a:pt x="796579" y="409108"/>
                    <a:pt x="789510" y="409108"/>
                  </a:cubicBezTo>
                  <a:moveTo>
                    <a:pt x="789510" y="450012"/>
                  </a:moveTo>
                  <a:cubicBezTo>
                    <a:pt x="782442" y="450012"/>
                    <a:pt x="776719" y="455735"/>
                    <a:pt x="776719" y="462803"/>
                  </a:cubicBezTo>
                  <a:cubicBezTo>
                    <a:pt x="776719" y="469871"/>
                    <a:pt x="782442" y="475594"/>
                    <a:pt x="789510" y="475594"/>
                  </a:cubicBezTo>
                  <a:cubicBezTo>
                    <a:pt x="796579" y="475594"/>
                    <a:pt x="802302" y="469871"/>
                    <a:pt x="802302" y="462803"/>
                  </a:cubicBezTo>
                  <a:cubicBezTo>
                    <a:pt x="802302" y="455735"/>
                    <a:pt x="796579" y="450012"/>
                    <a:pt x="789510" y="450012"/>
                  </a:cubicBezTo>
                  <a:moveTo>
                    <a:pt x="789510" y="490939"/>
                  </a:moveTo>
                  <a:cubicBezTo>
                    <a:pt x="782442" y="490939"/>
                    <a:pt x="776719" y="496662"/>
                    <a:pt x="776719" y="503730"/>
                  </a:cubicBezTo>
                  <a:cubicBezTo>
                    <a:pt x="776719" y="510798"/>
                    <a:pt x="782442" y="516521"/>
                    <a:pt x="789510" y="516521"/>
                  </a:cubicBezTo>
                  <a:cubicBezTo>
                    <a:pt x="796579" y="516521"/>
                    <a:pt x="802302" y="510798"/>
                    <a:pt x="802302" y="503730"/>
                  </a:cubicBezTo>
                  <a:cubicBezTo>
                    <a:pt x="802302" y="496662"/>
                    <a:pt x="796579" y="490939"/>
                    <a:pt x="789510" y="490939"/>
                  </a:cubicBezTo>
                  <a:moveTo>
                    <a:pt x="789510" y="531843"/>
                  </a:moveTo>
                  <a:cubicBezTo>
                    <a:pt x="782442" y="531843"/>
                    <a:pt x="776719" y="537566"/>
                    <a:pt x="776719" y="544634"/>
                  </a:cubicBezTo>
                  <a:cubicBezTo>
                    <a:pt x="776719" y="551702"/>
                    <a:pt x="782442" y="557425"/>
                    <a:pt x="789510" y="557425"/>
                  </a:cubicBezTo>
                  <a:cubicBezTo>
                    <a:pt x="796579" y="557425"/>
                    <a:pt x="802302" y="551702"/>
                    <a:pt x="802302" y="544634"/>
                  </a:cubicBezTo>
                  <a:cubicBezTo>
                    <a:pt x="802302" y="537566"/>
                    <a:pt x="796579" y="531843"/>
                    <a:pt x="789510" y="531843"/>
                  </a:cubicBezTo>
                  <a:moveTo>
                    <a:pt x="789510" y="572747"/>
                  </a:moveTo>
                  <a:cubicBezTo>
                    <a:pt x="782442" y="572747"/>
                    <a:pt x="776719" y="578470"/>
                    <a:pt x="776719" y="585538"/>
                  </a:cubicBezTo>
                  <a:cubicBezTo>
                    <a:pt x="776719" y="592606"/>
                    <a:pt x="782442" y="598329"/>
                    <a:pt x="789510" y="598329"/>
                  </a:cubicBezTo>
                  <a:cubicBezTo>
                    <a:pt x="796579" y="598329"/>
                    <a:pt x="802302" y="592606"/>
                    <a:pt x="802302" y="585538"/>
                  </a:cubicBezTo>
                  <a:cubicBezTo>
                    <a:pt x="802302" y="578470"/>
                    <a:pt x="796579" y="572747"/>
                    <a:pt x="789510" y="572747"/>
                  </a:cubicBezTo>
                  <a:moveTo>
                    <a:pt x="789510" y="613674"/>
                  </a:moveTo>
                  <a:cubicBezTo>
                    <a:pt x="782442" y="613674"/>
                    <a:pt x="776719" y="619397"/>
                    <a:pt x="776719" y="626465"/>
                  </a:cubicBezTo>
                  <a:cubicBezTo>
                    <a:pt x="776719" y="633533"/>
                    <a:pt x="782442" y="639256"/>
                    <a:pt x="789510" y="639256"/>
                  </a:cubicBezTo>
                  <a:cubicBezTo>
                    <a:pt x="796579" y="639256"/>
                    <a:pt x="802302" y="633533"/>
                    <a:pt x="802302" y="626465"/>
                  </a:cubicBezTo>
                  <a:cubicBezTo>
                    <a:pt x="802302" y="619397"/>
                    <a:pt x="796579" y="613674"/>
                    <a:pt x="789510" y="613674"/>
                  </a:cubicBezTo>
                  <a:moveTo>
                    <a:pt x="789510" y="654578"/>
                  </a:moveTo>
                  <a:cubicBezTo>
                    <a:pt x="782442" y="654578"/>
                    <a:pt x="776719" y="660301"/>
                    <a:pt x="776719" y="667369"/>
                  </a:cubicBezTo>
                  <a:cubicBezTo>
                    <a:pt x="776719" y="674437"/>
                    <a:pt x="782442" y="680160"/>
                    <a:pt x="789510" y="680160"/>
                  </a:cubicBezTo>
                  <a:cubicBezTo>
                    <a:pt x="796579" y="680160"/>
                    <a:pt x="802302" y="674437"/>
                    <a:pt x="802302" y="667369"/>
                  </a:cubicBezTo>
                  <a:cubicBezTo>
                    <a:pt x="802302" y="660301"/>
                    <a:pt x="796579" y="654578"/>
                    <a:pt x="789510" y="654578"/>
                  </a:cubicBezTo>
                  <a:moveTo>
                    <a:pt x="789510" y="695482"/>
                  </a:moveTo>
                  <a:cubicBezTo>
                    <a:pt x="782442" y="695482"/>
                    <a:pt x="776719" y="701205"/>
                    <a:pt x="776719" y="708273"/>
                  </a:cubicBezTo>
                  <a:cubicBezTo>
                    <a:pt x="776719" y="715341"/>
                    <a:pt x="782442" y="721064"/>
                    <a:pt x="789510" y="721064"/>
                  </a:cubicBezTo>
                  <a:cubicBezTo>
                    <a:pt x="796579" y="721064"/>
                    <a:pt x="802302" y="715341"/>
                    <a:pt x="802302" y="708273"/>
                  </a:cubicBezTo>
                  <a:cubicBezTo>
                    <a:pt x="802302" y="701205"/>
                    <a:pt x="796579" y="695482"/>
                    <a:pt x="789510" y="695482"/>
                  </a:cubicBezTo>
                  <a:moveTo>
                    <a:pt x="789510" y="736386"/>
                  </a:moveTo>
                  <a:cubicBezTo>
                    <a:pt x="782442" y="736386"/>
                    <a:pt x="776719" y="742109"/>
                    <a:pt x="776719" y="749177"/>
                  </a:cubicBezTo>
                  <a:cubicBezTo>
                    <a:pt x="776719" y="756245"/>
                    <a:pt x="782442" y="761968"/>
                    <a:pt x="789510" y="761968"/>
                  </a:cubicBezTo>
                  <a:cubicBezTo>
                    <a:pt x="796579" y="761968"/>
                    <a:pt x="802302" y="756245"/>
                    <a:pt x="802302" y="749177"/>
                  </a:cubicBezTo>
                  <a:cubicBezTo>
                    <a:pt x="802302" y="742109"/>
                    <a:pt x="796579" y="736386"/>
                    <a:pt x="789510" y="736386"/>
                  </a:cubicBezTo>
                  <a:moveTo>
                    <a:pt x="789510" y="777313"/>
                  </a:moveTo>
                  <a:cubicBezTo>
                    <a:pt x="782442" y="777313"/>
                    <a:pt x="776719" y="783035"/>
                    <a:pt x="776719" y="790104"/>
                  </a:cubicBezTo>
                  <a:cubicBezTo>
                    <a:pt x="776719" y="797172"/>
                    <a:pt x="782442" y="802895"/>
                    <a:pt x="789510" y="802895"/>
                  </a:cubicBezTo>
                  <a:cubicBezTo>
                    <a:pt x="796579" y="802895"/>
                    <a:pt x="802302" y="797172"/>
                    <a:pt x="802302" y="790104"/>
                  </a:cubicBezTo>
                  <a:cubicBezTo>
                    <a:pt x="802302" y="783035"/>
                    <a:pt x="796579" y="777313"/>
                    <a:pt x="789510" y="777313"/>
                  </a:cubicBezTo>
                  <a:moveTo>
                    <a:pt x="789510" y="818217"/>
                  </a:moveTo>
                  <a:cubicBezTo>
                    <a:pt x="782442" y="818217"/>
                    <a:pt x="776719" y="823939"/>
                    <a:pt x="776719" y="831008"/>
                  </a:cubicBezTo>
                  <a:cubicBezTo>
                    <a:pt x="776719" y="838076"/>
                    <a:pt x="782442" y="843799"/>
                    <a:pt x="789510" y="843799"/>
                  </a:cubicBezTo>
                  <a:cubicBezTo>
                    <a:pt x="796579" y="843799"/>
                    <a:pt x="802302" y="838076"/>
                    <a:pt x="802302" y="831008"/>
                  </a:cubicBezTo>
                  <a:cubicBezTo>
                    <a:pt x="802302" y="823939"/>
                    <a:pt x="796579" y="818217"/>
                    <a:pt x="789510" y="818217"/>
                  </a:cubicBezTo>
                  <a:moveTo>
                    <a:pt x="789510" y="859121"/>
                  </a:moveTo>
                  <a:cubicBezTo>
                    <a:pt x="782442" y="859121"/>
                    <a:pt x="776719" y="864843"/>
                    <a:pt x="776719" y="871912"/>
                  </a:cubicBezTo>
                  <a:cubicBezTo>
                    <a:pt x="776719" y="878980"/>
                    <a:pt x="782442" y="884703"/>
                    <a:pt x="789510" y="884703"/>
                  </a:cubicBezTo>
                  <a:cubicBezTo>
                    <a:pt x="796579" y="884703"/>
                    <a:pt x="802302" y="878980"/>
                    <a:pt x="802302" y="871912"/>
                  </a:cubicBezTo>
                  <a:cubicBezTo>
                    <a:pt x="802302" y="864843"/>
                    <a:pt x="796579" y="859121"/>
                    <a:pt x="789510" y="859121"/>
                  </a:cubicBezTo>
                  <a:moveTo>
                    <a:pt x="748584" y="81831"/>
                  </a:moveTo>
                  <a:cubicBezTo>
                    <a:pt x="741516" y="81831"/>
                    <a:pt x="735793" y="87554"/>
                    <a:pt x="735793" y="94622"/>
                  </a:cubicBezTo>
                  <a:cubicBezTo>
                    <a:pt x="735793" y="101690"/>
                    <a:pt x="741516" y="107413"/>
                    <a:pt x="748584" y="107413"/>
                  </a:cubicBezTo>
                  <a:cubicBezTo>
                    <a:pt x="755652" y="107413"/>
                    <a:pt x="761375" y="101690"/>
                    <a:pt x="761375" y="94622"/>
                  </a:cubicBezTo>
                  <a:cubicBezTo>
                    <a:pt x="761375" y="87554"/>
                    <a:pt x="755652" y="81831"/>
                    <a:pt x="748584" y="81831"/>
                  </a:cubicBezTo>
                  <a:moveTo>
                    <a:pt x="748584" y="122735"/>
                  </a:moveTo>
                  <a:cubicBezTo>
                    <a:pt x="741516" y="122735"/>
                    <a:pt x="735793" y="128458"/>
                    <a:pt x="735793" y="135526"/>
                  </a:cubicBezTo>
                  <a:cubicBezTo>
                    <a:pt x="735793" y="142594"/>
                    <a:pt x="741516" y="148317"/>
                    <a:pt x="748584" y="148317"/>
                  </a:cubicBezTo>
                  <a:cubicBezTo>
                    <a:pt x="755652" y="148317"/>
                    <a:pt x="761375" y="142594"/>
                    <a:pt x="761375" y="135526"/>
                  </a:cubicBezTo>
                  <a:cubicBezTo>
                    <a:pt x="761375" y="128458"/>
                    <a:pt x="755652" y="122735"/>
                    <a:pt x="748584" y="122735"/>
                  </a:cubicBezTo>
                  <a:moveTo>
                    <a:pt x="748584" y="163639"/>
                  </a:moveTo>
                  <a:cubicBezTo>
                    <a:pt x="741516" y="163639"/>
                    <a:pt x="735793" y="169362"/>
                    <a:pt x="735793" y="176430"/>
                  </a:cubicBezTo>
                  <a:cubicBezTo>
                    <a:pt x="735793" y="183498"/>
                    <a:pt x="741516" y="189221"/>
                    <a:pt x="748584" y="189221"/>
                  </a:cubicBezTo>
                  <a:cubicBezTo>
                    <a:pt x="755652" y="189221"/>
                    <a:pt x="761375" y="183498"/>
                    <a:pt x="761375" y="176430"/>
                  </a:cubicBezTo>
                  <a:cubicBezTo>
                    <a:pt x="761375" y="169362"/>
                    <a:pt x="755652" y="163639"/>
                    <a:pt x="748584" y="163639"/>
                  </a:cubicBezTo>
                  <a:moveTo>
                    <a:pt x="748584" y="204543"/>
                  </a:moveTo>
                  <a:cubicBezTo>
                    <a:pt x="741516" y="204543"/>
                    <a:pt x="735793" y="210266"/>
                    <a:pt x="735793" y="217334"/>
                  </a:cubicBezTo>
                  <a:cubicBezTo>
                    <a:pt x="735793" y="224402"/>
                    <a:pt x="741516" y="230125"/>
                    <a:pt x="748584" y="230125"/>
                  </a:cubicBezTo>
                  <a:cubicBezTo>
                    <a:pt x="755652" y="230125"/>
                    <a:pt x="761375" y="224402"/>
                    <a:pt x="761375" y="217334"/>
                  </a:cubicBezTo>
                  <a:cubicBezTo>
                    <a:pt x="761375" y="210266"/>
                    <a:pt x="755652" y="204543"/>
                    <a:pt x="748584" y="204543"/>
                  </a:cubicBezTo>
                  <a:moveTo>
                    <a:pt x="748584" y="245470"/>
                  </a:moveTo>
                  <a:cubicBezTo>
                    <a:pt x="741516" y="245470"/>
                    <a:pt x="735793" y="251192"/>
                    <a:pt x="735793" y="258261"/>
                  </a:cubicBezTo>
                  <a:cubicBezTo>
                    <a:pt x="735793" y="265329"/>
                    <a:pt x="741516" y="271052"/>
                    <a:pt x="748584" y="271052"/>
                  </a:cubicBezTo>
                  <a:cubicBezTo>
                    <a:pt x="755652" y="271052"/>
                    <a:pt x="761375" y="265329"/>
                    <a:pt x="761375" y="258261"/>
                  </a:cubicBezTo>
                  <a:cubicBezTo>
                    <a:pt x="761375" y="251192"/>
                    <a:pt x="755652" y="245470"/>
                    <a:pt x="748584" y="245470"/>
                  </a:cubicBezTo>
                  <a:moveTo>
                    <a:pt x="748584" y="286374"/>
                  </a:moveTo>
                  <a:cubicBezTo>
                    <a:pt x="741516" y="286374"/>
                    <a:pt x="735793" y="292096"/>
                    <a:pt x="735793" y="299165"/>
                  </a:cubicBezTo>
                  <a:cubicBezTo>
                    <a:pt x="735793" y="306233"/>
                    <a:pt x="741516" y="311956"/>
                    <a:pt x="748584" y="311956"/>
                  </a:cubicBezTo>
                  <a:cubicBezTo>
                    <a:pt x="755652" y="311956"/>
                    <a:pt x="761375" y="306233"/>
                    <a:pt x="761375" y="299165"/>
                  </a:cubicBezTo>
                  <a:cubicBezTo>
                    <a:pt x="761375" y="292096"/>
                    <a:pt x="755652" y="286374"/>
                    <a:pt x="748584" y="286374"/>
                  </a:cubicBezTo>
                  <a:moveTo>
                    <a:pt x="748584" y="327277"/>
                  </a:moveTo>
                  <a:cubicBezTo>
                    <a:pt x="741516" y="327277"/>
                    <a:pt x="735793" y="333000"/>
                    <a:pt x="735793" y="340069"/>
                  </a:cubicBezTo>
                  <a:cubicBezTo>
                    <a:pt x="735793" y="347137"/>
                    <a:pt x="741516" y="352860"/>
                    <a:pt x="748584" y="352860"/>
                  </a:cubicBezTo>
                  <a:cubicBezTo>
                    <a:pt x="755652" y="352860"/>
                    <a:pt x="761375" y="347137"/>
                    <a:pt x="761375" y="340069"/>
                  </a:cubicBezTo>
                  <a:cubicBezTo>
                    <a:pt x="761375" y="333000"/>
                    <a:pt x="755652" y="327277"/>
                    <a:pt x="748584" y="327277"/>
                  </a:cubicBezTo>
                  <a:moveTo>
                    <a:pt x="748584" y="368204"/>
                  </a:moveTo>
                  <a:cubicBezTo>
                    <a:pt x="741516" y="368204"/>
                    <a:pt x="735793" y="373927"/>
                    <a:pt x="735793" y="380995"/>
                  </a:cubicBezTo>
                  <a:cubicBezTo>
                    <a:pt x="735793" y="388063"/>
                    <a:pt x="741516" y="393786"/>
                    <a:pt x="748584" y="393786"/>
                  </a:cubicBezTo>
                  <a:cubicBezTo>
                    <a:pt x="755652" y="393786"/>
                    <a:pt x="761375" y="388063"/>
                    <a:pt x="761375" y="380995"/>
                  </a:cubicBezTo>
                  <a:cubicBezTo>
                    <a:pt x="761375" y="373927"/>
                    <a:pt x="755652" y="368204"/>
                    <a:pt x="748584" y="368204"/>
                  </a:cubicBezTo>
                  <a:moveTo>
                    <a:pt x="748584" y="409108"/>
                  </a:moveTo>
                  <a:cubicBezTo>
                    <a:pt x="741516" y="409108"/>
                    <a:pt x="735793" y="414831"/>
                    <a:pt x="735793" y="421899"/>
                  </a:cubicBezTo>
                  <a:cubicBezTo>
                    <a:pt x="735793" y="428967"/>
                    <a:pt x="741516" y="434690"/>
                    <a:pt x="748584" y="434690"/>
                  </a:cubicBezTo>
                  <a:cubicBezTo>
                    <a:pt x="755652" y="434690"/>
                    <a:pt x="761375" y="428967"/>
                    <a:pt x="761375" y="421899"/>
                  </a:cubicBezTo>
                  <a:cubicBezTo>
                    <a:pt x="761375" y="414831"/>
                    <a:pt x="755652" y="409108"/>
                    <a:pt x="748584" y="409108"/>
                  </a:cubicBezTo>
                  <a:moveTo>
                    <a:pt x="748584" y="450012"/>
                  </a:moveTo>
                  <a:cubicBezTo>
                    <a:pt x="741516" y="450012"/>
                    <a:pt x="735793" y="455735"/>
                    <a:pt x="735793" y="462803"/>
                  </a:cubicBezTo>
                  <a:cubicBezTo>
                    <a:pt x="735793" y="469871"/>
                    <a:pt x="741516" y="475594"/>
                    <a:pt x="748584" y="475594"/>
                  </a:cubicBezTo>
                  <a:cubicBezTo>
                    <a:pt x="755652" y="475594"/>
                    <a:pt x="761375" y="469871"/>
                    <a:pt x="761375" y="462803"/>
                  </a:cubicBezTo>
                  <a:cubicBezTo>
                    <a:pt x="761375" y="455735"/>
                    <a:pt x="755652" y="450012"/>
                    <a:pt x="748584" y="450012"/>
                  </a:cubicBezTo>
                  <a:moveTo>
                    <a:pt x="748584" y="490939"/>
                  </a:moveTo>
                  <a:cubicBezTo>
                    <a:pt x="741516" y="490939"/>
                    <a:pt x="735793" y="496662"/>
                    <a:pt x="735793" y="503730"/>
                  </a:cubicBezTo>
                  <a:cubicBezTo>
                    <a:pt x="735793" y="510798"/>
                    <a:pt x="741516" y="516521"/>
                    <a:pt x="748584" y="516521"/>
                  </a:cubicBezTo>
                  <a:cubicBezTo>
                    <a:pt x="755652" y="516521"/>
                    <a:pt x="761375" y="510798"/>
                    <a:pt x="761375" y="503730"/>
                  </a:cubicBezTo>
                  <a:cubicBezTo>
                    <a:pt x="761375" y="496662"/>
                    <a:pt x="755652" y="490939"/>
                    <a:pt x="748584" y="490939"/>
                  </a:cubicBezTo>
                  <a:moveTo>
                    <a:pt x="748584" y="531843"/>
                  </a:moveTo>
                  <a:cubicBezTo>
                    <a:pt x="741516" y="531843"/>
                    <a:pt x="735793" y="537566"/>
                    <a:pt x="735793" y="544634"/>
                  </a:cubicBezTo>
                  <a:cubicBezTo>
                    <a:pt x="735793" y="551702"/>
                    <a:pt x="741516" y="557425"/>
                    <a:pt x="748584" y="557425"/>
                  </a:cubicBezTo>
                  <a:cubicBezTo>
                    <a:pt x="755652" y="557425"/>
                    <a:pt x="761375" y="551702"/>
                    <a:pt x="761375" y="544634"/>
                  </a:cubicBezTo>
                  <a:cubicBezTo>
                    <a:pt x="761375" y="537566"/>
                    <a:pt x="755652" y="531843"/>
                    <a:pt x="748584" y="531843"/>
                  </a:cubicBezTo>
                  <a:moveTo>
                    <a:pt x="748584" y="572747"/>
                  </a:moveTo>
                  <a:cubicBezTo>
                    <a:pt x="741516" y="572747"/>
                    <a:pt x="735793" y="578470"/>
                    <a:pt x="735793" y="585538"/>
                  </a:cubicBezTo>
                  <a:cubicBezTo>
                    <a:pt x="735793" y="592606"/>
                    <a:pt x="741516" y="598329"/>
                    <a:pt x="748584" y="598329"/>
                  </a:cubicBezTo>
                  <a:cubicBezTo>
                    <a:pt x="755652" y="598329"/>
                    <a:pt x="761375" y="592606"/>
                    <a:pt x="761375" y="585538"/>
                  </a:cubicBezTo>
                  <a:cubicBezTo>
                    <a:pt x="761375" y="578470"/>
                    <a:pt x="755652" y="572747"/>
                    <a:pt x="748584" y="572747"/>
                  </a:cubicBezTo>
                  <a:moveTo>
                    <a:pt x="748584" y="613674"/>
                  </a:moveTo>
                  <a:cubicBezTo>
                    <a:pt x="741516" y="613674"/>
                    <a:pt x="735793" y="619397"/>
                    <a:pt x="735793" y="626465"/>
                  </a:cubicBezTo>
                  <a:cubicBezTo>
                    <a:pt x="735793" y="633533"/>
                    <a:pt x="741516" y="639256"/>
                    <a:pt x="748584" y="639256"/>
                  </a:cubicBezTo>
                  <a:cubicBezTo>
                    <a:pt x="755652" y="639256"/>
                    <a:pt x="761375" y="633533"/>
                    <a:pt x="761375" y="626465"/>
                  </a:cubicBezTo>
                  <a:cubicBezTo>
                    <a:pt x="761375" y="619397"/>
                    <a:pt x="755652" y="613674"/>
                    <a:pt x="748584" y="613674"/>
                  </a:cubicBezTo>
                  <a:moveTo>
                    <a:pt x="748584" y="654578"/>
                  </a:moveTo>
                  <a:cubicBezTo>
                    <a:pt x="741516" y="654578"/>
                    <a:pt x="735793" y="660301"/>
                    <a:pt x="735793" y="667369"/>
                  </a:cubicBezTo>
                  <a:cubicBezTo>
                    <a:pt x="735793" y="674437"/>
                    <a:pt x="741516" y="680160"/>
                    <a:pt x="748584" y="680160"/>
                  </a:cubicBezTo>
                  <a:cubicBezTo>
                    <a:pt x="755652" y="680160"/>
                    <a:pt x="761375" y="674437"/>
                    <a:pt x="761375" y="667369"/>
                  </a:cubicBezTo>
                  <a:cubicBezTo>
                    <a:pt x="761375" y="660301"/>
                    <a:pt x="755652" y="654578"/>
                    <a:pt x="748584" y="654578"/>
                  </a:cubicBezTo>
                  <a:moveTo>
                    <a:pt x="748584" y="695482"/>
                  </a:moveTo>
                  <a:cubicBezTo>
                    <a:pt x="741516" y="695482"/>
                    <a:pt x="735793" y="701205"/>
                    <a:pt x="735793" y="708273"/>
                  </a:cubicBezTo>
                  <a:cubicBezTo>
                    <a:pt x="735793" y="715341"/>
                    <a:pt x="741516" y="721064"/>
                    <a:pt x="748584" y="721064"/>
                  </a:cubicBezTo>
                  <a:cubicBezTo>
                    <a:pt x="755652" y="721064"/>
                    <a:pt x="761375" y="715341"/>
                    <a:pt x="761375" y="708273"/>
                  </a:cubicBezTo>
                  <a:cubicBezTo>
                    <a:pt x="761375" y="701205"/>
                    <a:pt x="755652" y="695482"/>
                    <a:pt x="748584" y="695482"/>
                  </a:cubicBezTo>
                  <a:moveTo>
                    <a:pt x="748584" y="736386"/>
                  </a:moveTo>
                  <a:cubicBezTo>
                    <a:pt x="741516" y="736386"/>
                    <a:pt x="735793" y="742109"/>
                    <a:pt x="735793" y="749177"/>
                  </a:cubicBezTo>
                  <a:cubicBezTo>
                    <a:pt x="735793" y="756245"/>
                    <a:pt x="741516" y="761968"/>
                    <a:pt x="748584" y="761968"/>
                  </a:cubicBezTo>
                  <a:cubicBezTo>
                    <a:pt x="755652" y="761968"/>
                    <a:pt x="761375" y="756245"/>
                    <a:pt x="761375" y="749177"/>
                  </a:cubicBezTo>
                  <a:cubicBezTo>
                    <a:pt x="761375" y="742109"/>
                    <a:pt x="755652" y="736386"/>
                    <a:pt x="748584" y="736386"/>
                  </a:cubicBezTo>
                  <a:moveTo>
                    <a:pt x="748584" y="777313"/>
                  </a:moveTo>
                  <a:cubicBezTo>
                    <a:pt x="741516" y="777313"/>
                    <a:pt x="735793" y="783035"/>
                    <a:pt x="735793" y="790104"/>
                  </a:cubicBezTo>
                  <a:cubicBezTo>
                    <a:pt x="735793" y="797172"/>
                    <a:pt x="741516" y="802895"/>
                    <a:pt x="748584" y="802895"/>
                  </a:cubicBezTo>
                  <a:cubicBezTo>
                    <a:pt x="755652" y="802895"/>
                    <a:pt x="761375" y="797172"/>
                    <a:pt x="761375" y="790104"/>
                  </a:cubicBezTo>
                  <a:cubicBezTo>
                    <a:pt x="761375" y="783035"/>
                    <a:pt x="755652" y="777313"/>
                    <a:pt x="748584" y="777313"/>
                  </a:cubicBezTo>
                  <a:moveTo>
                    <a:pt x="748584" y="818217"/>
                  </a:moveTo>
                  <a:cubicBezTo>
                    <a:pt x="741516" y="818217"/>
                    <a:pt x="735793" y="823939"/>
                    <a:pt x="735793" y="831008"/>
                  </a:cubicBezTo>
                  <a:cubicBezTo>
                    <a:pt x="735793" y="838076"/>
                    <a:pt x="741516" y="843799"/>
                    <a:pt x="748584" y="843799"/>
                  </a:cubicBezTo>
                  <a:cubicBezTo>
                    <a:pt x="755652" y="843799"/>
                    <a:pt x="761375" y="838076"/>
                    <a:pt x="761375" y="831008"/>
                  </a:cubicBezTo>
                  <a:cubicBezTo>
                    <a:pt x="761375" y="823939"/>
                    <a:pt x="755652" y="818217"/>
                    <a:pt x="748584" y="818217"/>
                  </a:cubicBezTo>
                  <a:moveTo>
                    <a:pt x="748584" y="859121"/>
                  </a:moveTo>
                  <a:cubicBezTo>
                    <a:pt x="741516" y="859121"/>
                    <a:pt x="735793" y="864843"/>
                    <a:pt x="735793" y="871912"/>
                  </a:cubicBezTo>
                  <a:cubicBezTo>
                    <a:pt x="735793" y="878980"/>
                    <a:pt x="741516" y="884703"/>
                    <a:pt x="748584" y="884703"/>
                  </a:cubicBezTo>
                  <a:cubicBezTo>
                    <a:pt x="755652" y="884703"/>
                    <a:pt x="761375" y="878980"/>
                    <a:pt x="761375" y="871912"/>
                  </a:cubicBezTo>
                  <a:cubicBezTo>
                    <a:pt x="761375" y="864843"/>
                    <a:pt x="755652" y="859121"/>
                    <a:pt x="748584" y="859121"/>
                  </a:cubicBezTo>
                  <a:moveTo>
                    <a:pt x="707680" y="122735"/>
                  </a:moveTo>
                  <a:cubicBezTo>
                    <a:pt x="700612" y="122735"/>
                    <a:pt x="694889" y="128458"/>
                    <a:pt x="694889" y="135526"/>
                  </a:cubicBezTo>
                  <a:cubicBezTo>
                    <a:pt x="694889" y="142594"/>
                    <a:pt x="700612" y="148317"/>
                    <a:pt x="707680" y="148317"/>
                  </a:cubicBezTo>
                  <a:cubicBezTo>
                    <a:pt x="714748" y="148317"/>
                    <a:pt x="720471" y="142594"/>
                    <a:pt x="720471" y="135526"/>
                  </a:cubicBezTo>
                  <a:cubicBezTo>
                    <a:pt x="720471" y="128458"/>
                    <a:pt x="714748" y="122735"/>
                    <a:pt x="707680" y="122735"/>
                  </a:cubicBezTo>
                  <a:moveTo>
                    <a:pt x="707680" y="163639"/>
                  </a:moveTo>
                  <a:cubicBezTo>
                    <a:pt x="700612" y="163639"/>
                    <a:pt x="694889" y="169362"/>
                    <a:pt x="694889" y="176430"/>
                  </a:cubicBezTo>
                  <a:cubicBezTo>
                    <a:pt x="694889" y="183498"/>
                    <a:pt x="700612" y="189221"/>
                    <a:pt x="707680" y="189221"/>
                  </a:cubicBezTo>
                  <a:cubicBezTo>
                    <a:pt x="714748" y="189221"/>
                    <a:pt x="720471" y="183498"/>
                    <a:pt x="720471" y="176430"/>
                  </a:cubicBezTo>
                  <a:cubicBezTo>
                    <a:pt x="720471" y="169362"/>
                    <a:pt x="714748" y="163639"/>
                    <a:pt x="707680" y="163639"/>
                  </a:cubicBezTo>
                  <a:moveTo>
                    <a:pt x="707680" y="204543"/>
                  </a:moveTo>
                  <a:cubicBezTo>
                    <a:pt x="700612" y="204543"/>
                    <a:pt x="694889" y="210266"/>
                    <a:pt x="694889" y="217334"/>
                  </a:cubicBezTo>
                  <a:cubicBezTo>
                    <a:pt x="694889" y="224402"/>
                    <a:pt x="700612" y="230125"/>
                    <a:pt x="707680" y="230125"/>
                  </a:cubicBezTo>
                  <a:cubicBezTo>
                    <a:pt x="714748" y="230125"/>
                    <a:pt x="720471" y="224402"/>
                    <a:pt x="720471" y="217334"/>
                  </a:cubicBezTo>
                  <a:cubicBezTo>
                    <a:pt x="720471" y="210266"/>
                    <a:pt x="714748" y="204543"/>
                    <a:pt x="707680" y="204543"/>
                  </a:cubicBezTo>
                  <a:moveTo>
                    <a:pt x="707680" y="245470"/>
                  </a:moveTo>
                  <a:cubicBezTo>
                    <a:pt x="700612" y="245470"/>
                    <a:pt x="694889" y="251192"/>
                    <a:pt x="694889" y="258261"/>
                  </a:cubicBezTo>
                  <a:cubicBezTo>
                    <a:pt x="694889" y="265329"/>
                    <a:pt x="700612" y="271052"/>
                    <a:pt x="707680" y="271052"/>
                  </a:cubicBezTo>
                  <a:cubicBezTo>
                    <a:pt x="714748" y="271052"/>
                    <a:pt x="720471" y="265329"/>
                    <a:pt x="720471" y="258261"/>
                  </a:cubicBezTo>
                  <a:cubicBezTo>
                    <a:pt x="720471" y="251192"/>
                    <a:pt x="714748" y="245470"/>
                    <a:pt x="707680" y="245470"/>
                  </a:cubicBezTo>
                  <a:moveTo>
                    <a:pt x="707680" y="286374"/>
                  </a:moveTo>
                  <a:cubicBezTo>
                    <a:pt x="700612" y="286374"/>
                    <a:pt x="694889" y="292096"/>
                    <a:pt x="694889" y="299165"/>
                  </a:cubicBezTo>
                  <a:cubicBezTo>
                    <a:pt x="694889" y="306233"/>
                    <a:pt x="700612" y="311956"/>
                    <a:pt x="707680" y="311956"/>
                  </a:cubicBezTo>
                  <a:cubicBezTo>
                    <a:pt x="714748" y="311956"/>
                    <a:pt x="720471" y="306233"/>
                    <a:pt x="720471" y="299165"/>
                  </a:cubicBezTo>
                  <a:cubicBezTo>
                    <a:pt x="720471" y="292096"/>
                    <a:pt x="714748" y="286374"/>
                    <a:pt x="707680" y="286374"/>
                  </a:cubicBezTo>
                  <a:moveTo>
                    <a:pt x="707680" y="327277"/>
                  </a:moveTo>
                  <a:cubicBezTo>
                    <a:pt x="700612" y="327277"/>
                    <a:pt x="694889" y="333000"/>
                    <a:pt x="694889" y="340069"/>
                  </a:cubicBezTo>
                  <a:cubicBezTo>
                    <a:pt x="694889" y="347137"/>
                    <a:pt x="700612" y="352860"/>
                    <a:pt x="707680" y="352860"/>
                  </a:cubicBezTo>
                  <a:cubicBezTo>
                    <a:pt x="714748" y="352860"/>
                    <a:pt x="720471" y="347137"/>
                    <a:pt x="720471" y="340069"/>
                  </a:cubicBezTo>
                  <a:cubicBezTo>
                    <a:pt x="720471" y="333000"/>
                    <a:pt x="714748" y="327277"/>
                    <a:pt x="707680" y="327277"/>
                  </a:cubicBezTo>
                  <a:moveTo>
                    <a:pt x="707680" y="368204"/>
                  </a:moveTo>
                  <a:cubicBezTo>
                    <a:pt x="700612" y="368204"/>
                    <a:pt x="694889" y="373927"/>
                    <a:pt x="694889" y="380995"/>
                  </a:cubicBezTo>
                  <a:cubicBezTo>
                    <a:pt x="694889" y="388063"/>
                    <a:pt x="700612" y="393786"/>
                    <a:pt x="707680" y="393786"/>
                  </a:cubicBezTo>
                  <a:cubicBezTo>
                    <a:pt x="714748" y="393786"/>
                    <a:pt x="720471" y="388063"/>
                    <a:pt x="720471" y="380995"/>
                  </a:cubicBezTo>
                  <a:cubicBezTo>
                    <a:pt x="720471" y="373927"/>
                    <a:pt x="714748" y="368204"/>
                    <a:pt x="707680" y="368204"/>
                  </a:cubicBezTo>
                  <a:moveTo>
                    <a:pt x="707680" y="409108"/>
                  </a:moveTo>
                  <a:cubicBezTo>
                    <a:pt x="700612" y="409108"/>
                    <a:pt x="694889" y="414831"/>
                    <a:pt x="694889" y="421899"/>
                  </a:cubicBezTo>
                  <a:cubicBezTo>
                    <a:pt x="694889" y="428967"/>
                    <a:pt x="700612" y="434690"/>
                    <a:pt x="707680" y="434690"/>
                  </a:cubicBezTo>
                  <a:cubicBezTo>
                    <a:pt x="714748" y="434690"/>
                    <a:pt x="720471" y="428967"/>
                    <a:pt x="720471" y="421899"/>
                  </a:cubicBezTo>
                  <a:cubicBezTo>
                    <a:pt x="720471" y="414831"/>
                    <a:pt x="714748" y="409108"/>
                    <a:pt x="707680" y="409108"/>
                  </a:cubicBezTo>
                  <a:moveTo>
                    <a:pt x="707680" y="450012"/>
                  </a:moveTo>
                  <a:cubicBezTo>
                    <a:pt x="700612" y="450012"/>
                    <a:pt x="694889" y="455735"/>
                    <a:pt x="694889" y="462803"/>
                  </a:cubicBezTo>
                  <a:cubicBezTo>
                    <a:pt x="694889" y="469871"/>
                    <a:pt x="700612" y="475594"/>
                    <a:pt x="707680" y="475594"/>
                  </a:cubicBezTo>
                  <a:cubicBezTo>
                    <a:pt x="714748" y="475594"/>
                    <a:pt x="720471" y="469871"/>
                    <a:pt x="720471" y="462803"/>
                  </a:cubicBezTo>
                  <a:cubicBezTo>
                    <a:pt x="720471" y="455735"/>
                    <a:pt x="714748" y="450012"/>
                    <a:pt x="707680" y="450012"/>
                  </a:cubicBezTo>
                  <a:moveTo>
                    <a:pt x="707680" y="490939"/>
                  </a:moveTo>
                  <a:cubicBezTo>
                    <a:pt x="700612" y="490939"/>
                    <a:pt x="694889" y="496662"/>
                    <a:pt x="694889" y="503730"/>
                  </a:cubicBezTo>
                  <a:cubicBezTo>
                    <a:pt x="694889" y="510798"/>
                    <a:pt x="700612" y="516521"/>
                    <a:pt x="707680" y="516521"/>
                  </a:cubicBezTo>
                  <a:cubicBezTo>
                    <a:pt x="714748" y="516521"/>
                    <a:pt x="720471" y="510798"/>
                    <a:pt x="720471" y="503730"/>
                  </a:cubicBezTo>
                  <a:cubicBezTo>
                    <a:pt x="720471" y="496662"/>
                    <a:pt x="714748" y="490939"/>
                    <a:pt x="707680" y="490939"/>
                  </a:cubicBezTo>
                  <a:moveTo>
                    <a:pt x="707680" y="531843"/>
                  </a:moveTo>
                  <a:cubicBezTo>
                    <a:pt x="700612" y="531843"/>
                    <a:pt x="694889" y="537566"/>
                    <a:pt x="694889" y="544634"/>
                  </a:cubicBezTo>
                  <a:cubicBezTo>
                    <a:pt x="694889" y="551702"/>
                    <a:pt x="700612" y="557425"/>
                    <a:pt x="707680" y="557425"/>
                  </a:cubicBezTo>
                  <a:cubicBezTo>
                    <a:pt x="714748" y="557425"/>
                    <a:pt x="720471" y="551702"/>
                    <a:pt x="720471" y="544634"/>
                  </a:cubicBezTo>
                  <a:cubicBezTo>
                    <a:pt x="720471" y="537566"/>
                    <a:pt x="714748" y="531843"/>
                    <a:pt x="707680" y="531843"/>
                  </a:cubicBezTo>
                  <a:moveTo>
                    <a:pt x="707680" y="572747"/>
                  </a:moveTo>
                  <a:cubicBezTo>
                    <a:pt x="700612" y="572747"/>
                    <a:pt x="694889" y="578470"/>
                    <a:pt x="694889" y="585538"/>
                  </a:cubicBezTo>
                  <a:cubicBezTo>
                    <a:pt x="694889" y="592606"/>
                    <a:pt x="700612" y="598329"/>
                    <a:pt x="707680" y="598329"/>
                  </a:cubicBezTo>
                  <a:cubicBezTo>
                    <a:pt x="714748" y="598329"/>
                    <a:pt x="720471" y="592606"/>
                    <a:pt x="720471" y="585538"/>
                  </a:cubicBezTo>
                  <a:cubicBezTo>
                    <a:pt x="720471" y="578470"/>
                    <a:pt x="714748" y="572747"/>
                    <a:pt x="707680" y="572747"/>
                  </a:cubicBezTo>
                  <a:moveTo>
                    <a:pt x="707680" y="613674"/>
                  </a:moveTo>
                  <a:cubicBezTo>
                    <a:pt x="700612" y="613674"/>
                    <a:pt x="694889" y="619397"/>
                    <a:pt x="694889" y="626465"/>
                  </a:cubicBezTo>
                  <a:cubicBezTo>
                    <a:pt x="694889" y="633533"/>
                    <a:pt x="700612" y="639256"/>
                    <a:pt x="707680" y="639256"/>
                  </a:cubicBezTo>
                  <a:cubicBezTo>
                    <a:pt x="714748" y="639256"/>
                    <a:pt x="720471" y="633533"/>
                    <a:pt x="720471" y="626465"/>
                  </a:cubicBezTo>
                  <a:cubicBezTo>
                    <a:pt x="720471" y="619397"/>
                    <a:pt x="714748" y="613674"/>
                    <a:pt x="707680" y="613674"/>
                  </a:cubicBezTo>
                  <a:moveTo>
                    <a:pt x="707680" y="654578"/>
                  </a:moveTo>
                  <a:cubicBezTo>
                    <a:pt x="700612" y="654578"/>
                    <a:pt x="694889" y="660301"/>
                    <a:pt x="694889" y="667369"/>
                  </a:cubicBezTo>
                  <a:cubicBezTo>
                    <a:pt x="694889" y="674437"/>
                    <a:pt x="700612" y="680160"/>
                    <a:pt x="707680" y="680160"/>
                  </a:cubicBezTo>
                  <a:cubicBezTo>
                    <a:pt x="714748" y="680160"/>
                    <a:pt x="720471" y="674437"/>
                    <a:pt x="720471" y="667369"/>
                  </a:cubicBezTo>
                  <a:cubicBezTo>
                    <a:pt x="720471" y="660301"/>
                    <a:pt x="714748" y="654578"/>
                    <a:pt x="707680" y="654578"/>
                  </a:cubicBezTo>
                  <a:moveTo>
                    <a:pt x="707680" y="695482"/>
                  </a:moveTo>
                  <a:cubicBezTo>
                    <a:pt x="700612" y="695482"/>
                    <a:pt x="694889" y="701205"/>
                    <a:pt x="694889" y="708273"/>
                  </a:cubicBezTo>
                  <a:cubicBezTo>
                    <a:pt x="694889" y="715341"/>
                    <a:pt x="700612" y="721064"/>
                    <a:pt x="707680" y="721064"/>
                  </a:cubicBezTo>
                  <a:cubicBezTo>
                    <a:pt x="714748" y="721064"/>
                    <a:pt x="720471" y="715341"/>
                    <a:pt x="720471" y="708273"/>
                  </a:cubicBezTo>
                  <a:cubicBezTo>
                    <a:pt x="720471" y="701205"/>
                    <a:pt x="714748" y="695482"/>
                    <a:pt x="707680" y="695482"/>
                  </a:cubicBezTo>
                  <a:moveTo>
                    <a:pt x="707680" y="736386"/>
                  </a:moveTo>
                  <a:cubicBezTo>
                    <a:pt x="700612" y="736386"/>
                    <a:pt x="694889" y="742109"/>
                    <a:pt x="694889" y="749177"/>
                  </a:cubicBezTo>
                  <a:cubicBezTo>
                    <a:pt x="694889" y="756245"/>
                    <a:pt x="700612" y="761968"/>
                    <a:pt x="707680" y="761968"/>
                  </a:cubicBezTo>
                  <a:cubicBezTo>
                    <a:pt x="714748" y="761968"/>
                    <a:pt x="720471" y="756245"/>
                    <a:pt x="720471" y="749177"/>
                  </a:cubicBezTo>
                  <a:cubicBezTo>
                    <a:pt x="720471" y="742109"/>
                    <a:pt x="714748" y="736386"/>
                    <a:pt x="707680" y="736386"/>
                  </a:cubicBezTo>
                  <a:moveTo>
                    <a:pt x="707680" y="777313"/>
                  </a:moveTo>
                  <a:cubicBezTo>
                    <a:pt x="700612" y="777313"/>
                    <a:pt x="694889" y="783035"/>
                    <a:pt x="694889" y="790104"/>
                  </a:cubicBezTo>
                  <a:cubicBezTo>
                    <a:pt x="694889" y="797172"/>
                    <a:pt x="700612" y="802895"/>
                    <a:pt x="707680" y="802895"/>
                  </a:cubicBezTo>
                  <a:cubicBezTo>
                    <a:pt x="714748" y="802895"/>
                    <a:pt x="720471" y="797172"/>
                    <a:pt x="720471" y="790104"/>
                  </a:cubicBezTo>
                  <a:cubicBezTo>
                    <a:pt x="720471" y="783035"/>
                    <a:pt x="714748" y="777313"/>
                    <a:pt x="707680" y="777313"/>
                  </a:cubicBezTo>
                  <a:moveTo>
                    <a:pt x="707680" y="818217"/>
                  </a:moveTo>
                  <a:cubicBezTo>
                    <a:pt x="700612" y="818217"/>
                    <a:pt x="694889" y="823939"/>
                    <a:pt x="694889" y="831008"/>
                  </a:cubicBezTo>
                  <a:cubicBezTo>
                    <a:pt x="694889" y="838076"/>
                    <a:pt x="700612" y="843799"/>
                    <a:pt x="707680" y="843799"/>
                  </a:cubicBezTo>
                  <a:cubicBezTo>
                    <a:pt x="714748" y="843799"/>
                    <a:pt x="720471" y="838076"/>
                    <a:pt x="720471" y="831008"/>
                  </a:cubicBezTo>
                  <a:cubicBezTo>
                    <a:pt x="720471" y="823939"/>
                    <a:pt x="714748" y="818217"/>
                    <a:pt x="707680" y="818217"/>
                  </a:cubicBezTo>
                  <a:moveTo>
                    <a:pt x="707680" y="859121"/>
                  </a:moveTo>
                  <a:cubicBezTo>
                    <a:pt x="700612" y="859121"/>
                    <a:pt x="694889" y="864843"/>
                    <a:pt x="694889" y="871912"/>
                  </a:cubicBezTo>
                  <a:cubicBezTo>
                    <a:pt x="694889" y="878980"/>
                    <a:pt x="700612" y="884703"/>
                    <a:pt x="707680" y="884703"/>
                  </a:cubicBezTo>
                  <a:cubicBezTo>
                    <a:pt x="714748" y="884703"/>
                    <a:pt x="720471" y="878980"/>
                    <a:pt x="720471" y="871912"/>
                  </a:cubicBezTo>
                  <a:cubicBezTo>
                    <a:pt x="720471" y="864843"/>
                    <a:pt x="714748" y="859121"/>
                    <a:pt x="707680" y="859121"/>
                  </a:cubicBezTo>
                  <a:moveTo>
                    <a:pt x="666776" y="163639"/>
                  </a:moveTo>
                  <a:cubicBezTo>
                    <a:pt x="659708" y="163639"/>
                    <a:pt x="653985" y="169362"/>
                    <a:pt x="653985" y="176430"/>
                  </a:cubicBezTo>
                  <a:cubicBezTo>
                    <a:pt x="653985" y="183498"/>
                    <a:pt x="659708" y="189221"/>
                    <a:pt x="666776" y="189221"/>
                  </a:cubicBezTo>
                  <a:cubicBezTo>
                    <a:pt x="673844" y="189221"/>
                    <a:pt x="679567" y="183498"/>
                    <a:pt x="679567" y="176430"/>
                  </a:cubicBezTo>
                  <a:cubicBezTo>
                    <a:pt x="679567" y="169362"/>
                    <a:pt x="673844" y="163639"/>
                    <a:pt x="666776" y="163639"/>
                  </a:cubicBezTo>
                  <a:moveTo>
                    <a:pt x="666776" y="204543"/>
                  </a:moveTo>
                  <a:cubicBezTo>
                    <a:pt x="659708" y="204543"/>
                    <a:pt x="653985" y="210266"/>
                    <a:pt x="653985" y="217334"/>
                  </a:cubicBezTo>
                  <a:cubicBezTo>
                    <a:pt x="653985" y="224402"/>
                    <a:pt x="659708" y="230125"/>
                    <a:pt x="666776" y="230125"/>
                  </a:cubicBezTo>
                  <a:cubicBezTo>
                    <a:pt x="673844" y="230125"/>
                    <a:pt x="679567" y="224402"/>
                    <a:pt x="679567" y="217334"/>
                  </a:cubicBezTo>
                  <a:cubicBezTo>
                    <a:pt x="679567" y="210266"/>
                    <a:pt x="673844" y="204543"/>
                    <a:pt x="666776" y="204543"/>
                  </a:cubicBezTo>
                  <a:moveTo>
                    <a:pt x="666776" y="245470"/>
                  </a:moveTo>
                  <a:cubicBezTo>
                    <a:pt x="659708" y="245470"/>
                    <a:pt x="653985" y="251192"/>
                    <a:pt x="653985" y="258261"/>
                  </a:cubicBezTo>
                  <a:cubicBezTo>
                    <a:pt x="653985" y="265329"/>
                    <a:pt x="659708" y="271052"/>
                    <a:pt x="666776" y="271052"/>
                  </a:cubicBezTo>
                  <a:cubicBezTo>
                    <a:pt x="673844" y="271052"/>
                    <a:pt x="679567" y="265329"/>
                    <a:pt x="679567" y="258261"/>
                  </a:cubicBezTo>
                  <a:cubicBezTo>
                    <a:pt x="679567" y="251192"/>
                    <a:pt x="673844" y="245470"/>
                    <a:pt x="666776" y="245470"/>
                  </a:cubicBezTo>
                  <a:moveTo>
                    <a:pt x="666776" y="286374"/>
                  </a:moveTo>
                  <a:cubicBezTo>
                    <a:pt x="659708" y="286374"/>
                    <a:pt x="653985" y="292096"/>
                    <a:pt x="653985" y="299165"/>
                  </a:cubicBezTo>
                  <a:cubicBezTo>
                    <a:pt x="653985" y="306233"/>
                    <a:pt x="659708" y="311956"/>
                    <a:pt x="666776" y="311956"/>
                  </a:cubicBezTo>
                  <a:cubicBezTo>
                    <a:pt x="673844" y="311956"/>
                    <a:pt x="679567" y="306233"/>
                    <a:pt x="679567" y="299165"/>
                  </a:cubicBezTo>
                  <a:cubicBezTo>
                    <a:pt x="679567" y="292096"/>
                    <a:pt x="673844" y="286374"/>
                    <a:pt x="666776" y="286374"/>
                  </a:cubicBezTo>
                  <a:moveTo>
                    <a:pt x="666776" y="327277"/>
                  </a:moveTo>
                  <a:cubicBezTo>
                    <a:pt x="659708" y="327277"/>
                    <a:pt x="653985" y="333000"/>
                    <a:pt x="653985" y="340069"/>
                  </a:cubicBezTo>
                  <a:cubicBezTo>
                    <a:pt x="653985" y="347137"/>
                    <a:pt x="659708" y="352860"/>
                    <a:pt x="666776" y="352860"/>
                  </a:cubicBezTo>
                  <a:cubicBezTo>
                    <a:pt x="673844" y="352860"/>
                    <a:pt x="679567" y="347137"/>
                    <a:pt x="679567" y="340069"/>
                  </a:cubicBezTo>
                  <a:cubicBezTo>
                    <a:pt x="679567" y="333000"/>
                    <a:pt x="673844" y="327277"/>
                    <a:pt x="666776" y="327277"/>
                  </a:cubicBezTo>
                  <a:moveTo>
                    <a:pt x="666776" y="368204"/>
                  </a:moveTo>
                  <a:cubicBezTo>
                    <a:pt x="659708" y="368204"/>
                    <a:pt x="653985" y="373927"/>
                    <a:pt x="653985" y="380995"/>
                  </a:cubicBezTo>
                  <a:cubicBezTo>
                    <a:pt x="653985" y="388063"/>
                    <a:pt x="659708" y="393786"/>
                    <a:pt x="666776" y="393786"/>
                  </a:cubicBezTo>
                  <a:cubicBezTo>
                    <a:pt x="673844" y="393786"/>
                    <a:pt x="679567" y="388063"/>
                    <a:pt x="679567" y="380995"/>
                  </a:cubicBezTo>
                  <a:cubicBezTo>
                    <a:pt x="679567" y="373927"/>
                    <a:pt x="673844" y="368204"/>
                    <a:pt x="666776" y="368204"/>
                  </a:cubicBezTo>
                  <a:moveTo>
                    <a:pt x="666776" y="409108"/>
                  </a:moveTo>
                  <a:cubicBezTo>
                    <a:pt x="659708" y="409108"/>
                    <a:pt x="653985" y="414831"/>
                    <a:pt x="653985" y="421899"/>
                  </a:cubicBezTo>
                  <a:cubicBezTo>
                    <a:pt x="653985" y="428967"/>
                    <a:pt x="659708" y="434690"/>
                    <a:pt x="666776" y="434690"/>
                  </a:cubicBezTo>
                  <a:cubicBezTo>
                    <a:pt x="673844" y="434690"/>
                    <a:pt x="679567" y="428967"/>
                    <a:pt x="679567" y="421899"/>
                  </a:cubicBezTo>
                  <a:cubicBezTo>
                    <a:pt x="679567" y="414831"/>
                    <a:pt x="673844" y="409108"/>
                    <a:pt x="666776" y="409108"/>
                  </a:cubicBezTo>
                  <a:moveTo>
                    <a:pt x="666776" y="450012"/>
                  </a:moveTo>
                  <a:cubicBezTo>
                    <a:pt x="659708" y="450012"/>
                    <a:pt x="653985" y="455735"/>
                    <a:pt x="653985" y="462803"/>
                  </a:cubicBezTo>
                  <a:cubicBezTo>
                    <a:pt x="653985" y="469871"/>
                    <a:pt x="659708" y="475594"/>
                    <a:pt x="666776" y="475594"/>
                  </a:cubicBezTo>
                  <a:cubicBezTo>
                    <a:pt x="673844" y="475594"/>
                    <a:pt x="679567" y="469871"/>
                    <a:pt x="679567" y="462803"/>
                  </a:cubicBezTo>
                  <a:cubicBezTo>
                    <a:pt x="679567" y="455735"/>
                    <a:pt x="673844" y="450012"/>
                    <a:pt x="666776" y="450012"/>
                  </a:cubicBezTo>
                  <a:moveTo>
                    <a:pt x="666776" y="490939"/>
                  </a:moveTo>
                  <a:cubicBezTo>
                    <a:pt x="659708" y="490939"/>
                    <a:pt x="653985" y="496662"/>
                    <a:pt x="653985" y="503730"/>
                  </a:cubicBezTo>
                  <a:cubicBezTo>
                    <a:pt x="653985" y="510798"/>
                    <a:pt x="659708" y="516521"/>
                    <a:pt x="666776" y="516521"/>
                  </a:cubicBezTo>
                  <a:cubicBezTo>
                    <a:pt x="673844" y="516521"/>
                    <a:pt x="679567" y="510798"/>
                    <a:pt x="679567" y="503730"/>
                  </a:cubicBezTo>
                  <a:cubicBezTo>
                    <a:pt x="679567" y="496662"/>
                    <a:pt x="673844" y="490939"/>
                    <a:pt x="666776" y="490939"/>
                  </a:cubicBezTo>
                  <a:moveTo>
                    <a:pt x="666776" y="531843"/>
                  </a:moveTo>
                  <a:cubicBezTo>
                    <a:pt x="659708" y="531843"/>
                    <a:pt x="653985" y="537566"/>
                    <a:pt x="653985" y="544634"/>
                  </a:cubicBezTo>
                  <a:cubicBezTo>
                    <a:pt x="653985" y="551702"/>
                    <a:pt x="659708" y="557425"/>
                    <a:pt x="666776" y="557425"/>
                  </a:cubicBezTo>
                  <a:cubicBezTo>
                    <a:pt x="673844" y="557425"/>
                    <a:pt x="679567" y="551702"/>
                    <a:pt x="679567" y="544634"/>
                  </a:cubicBezTo>
                  <a:cubicBezTo>
                    <a:pt x="679567" y="537566"/>
                    <a:pt x="673844" y="531843"/>
                    <a:pt x="666776" y="531843"/>
                  </a:cubicBezTo>
                  <a:moveTo>
                    <a:pt x="666776" y="572747"/>
                  </a:moveTo>
                  <a:cubicBezTo>
                    <a:pt x="659708" y="572747"/>
                    <a:pt x="653985" y="578470"/>
                    <a:pt x="653985" y="585538"/>
                  </a:cubicBezTo>
                  <a:cubicBezTo>
                    <a:pt x="653985" y="592606"/>
                    <a:pt x="659708" y="598329"/>
                    <a:pt x="666776" y="598329"/>
                  </a:cubicBezTo>
                  <a:cubicBezTo>
                    <a:pt x="673844" y="598329"/>
                    <a:pt x="679567" y="592606"/>
                    <a:pt x="679567" y="585538"/>
                  </a:cubicBezTo>
                  <a:cubicBezTo>
                    <a:pt x="679567" y="578470"/>
                    <a:pt x="673844" y="572747"/>
                    <a:pt x="666776" y="572747"/>
                  </a:cubicBezTo>
                  <a:moveTo>
                    <a:pt x="666776" y="613674"/>
                  </a:moveTo>
                  <a:cubicBezTo>
                    <a:pt x="659708" y="613674"/>
                    <a:pt x="653985" y="619397"/>
                    <a:pt x="653985" y="626465"/>
                  </a:cubicBezTo>
                  <a:cubicBezTo>
                    <a:pt x="653985" y="633533"/>
                    <a:pt x="659708" y="639256"/>
                    <a:pt x="666776" y="639256"/>
                  </a:cubicBezTo>
                  <a:cubicBezTo>
                    <a:pt x="673844" y="639256"/>
                    <a:pt x="679567" y="633533"/>
                    <a:pt x="679567" y="626465"/>
                  </a:cubicBezTo>
                  <a:cubicBezTo>
                    <a:pt x="679567" y="619397"/>
                    <a:pt x="673844" y="613674"/>
                    <a:pt x="666776" y="613674"/>
                  </a:cubicBezTo>
                  <a:moveTo>
                    <a:pt x="666776" y="654578"/>
                  </a:moveTo>
                  <a:cubicBezTo>
                    <a:pt x="659708" y="654578"/>
                    <a:pt x="653985" y="660301"/>
                    <a:pt x="653985" y="667369"/>
                  </a:cubicBezTo>
                  <a:cubicBezTo>
                    <a:pt x="653985" y="674437"/>
                    <a:pt x="659708" y="680160"/>
                    <a:pt x="666776" y="680160"/>
                  </a:cubicBezTo>
                  <a:cubicBezTo>
                    <a:pt x="673844" y="680160"/>
                    <a:pt x="679567" y="674437"/>
                    <a:pt x="679567" y="667369"/>
                  </a:cubicBezTo>
                  <a:cubicBezTo>
                    <a:pt x="679567" y="660301"/>
                    <a:pt x="673844" y="654578"/>
                    <a:pt x="666776" y="654578"/>
                  </a:cubicBezTo>
                  <a:moveTo>
                    <a:pt x="666776" y="695482"/>
                  </a:moveTo>
                  <a:cubicBezTo>
                    <a:pt x="659708" y="695482"/>
                    <a:pt x="653985" y="701205"/>
                    <a:pt x="653985" y="708273"/>
                  </a:cubicBezTo>
                  <a:cubicBezTo>
                    <a:pt x="653985" y="715341"/>
                    <a:pt x="659708" y="721064"/>
                    <a:pt x="666776" y="721064"/>
                  </a:cubicBezTo>
                  <a:cubicBezTo>
                    <a:pt x="673844" y="721064"/>
                    <a:pt x="679567" y="715341"/>
                    <a:pt x="679567" y="708273"/>
                  </a:cubicBezTo>
                  <a:cubicBezTo>
                    <a:pt x="679567" y="701205"/>
                    <a:pt x="673844" y="695482"/>
                    <a:pt x="666776" y="695482"/>
                  </a:cubicBezTo>
                  <a:moveTo>
                    <a:pt x="666776" y="736386"/>
                  </a:moveTo>
                  <a:cubicBezTo>
                    <a:pt x="659708" y="736386"/>
                    <a:pt x="653985" y="742109"/>
                    <a:pt x="653985" y="749177"/>
                  </a:cubicBezTo>
                  <a:cubicBezTo>
                    <a:pt x="653985" y="756245"/>
                    <a:pt x="659708" y="761968"/>
                    <a:pt x="666776" y="761968"/>
                  </a:cubicBezTo>
                  <a:cubicBezTo>
                    <a:pt x="673844" y="761968"/>
                    <a:pt x="679567" y="756245"/>
                    <a:pt x="679567" y="749177"/>
                  </a:cubicBezTo>
                  <a:cubicBezTo>
                    <a:pt x="679567" y="742109"/>
                    <a:pt x="673844" y="736386"/>
                    <a:pt x="666776" y="736386"/>
                  </a:cubicBezTo>
                  <a:moveTo>
                    <a:pt x="666776" y="777313"/>
                  </a:moveTo>
                  <a:cubicBezTo>
                    <a:pt x="659708" y="777313"/>
                    <a:pt x="653985" y="783035"/>
                    <a:pt x="653985" y="790104"/>
                  </a:cubicBezTo>
                  <a:cubicBezTo>
                    <a:pt x="653985" y="797172"/>
                    <a:pt x="659708" y="802895"/>
                    <a:pt x="666776" y="802895"/>
                  </a:cubicBezTo>
                  <a:cubicBezTo>
                    <a:pt x="673844" y="802895"/>
                    <a:pt x="679567" y="797172"/>
                    <a:pt x="679567" y="790104"/>
                  </a:cubicBezTo>
                  <a:cubicBezTo>
                    <a:pt x="679567" y="783035"/>
                    <a:pt x="673844" y="777313"/>
                    <a:pt x="666776" y="777313"/>
                  </a:cubicBezTo>
                  <a:moveTo>
                    <a:pt x="666776" y="818217"/>
                  </a:moveTo>
                  <a:cubicBezTo>
                    <a:pt x="659708" y="818217"/>
                    <a:pt x="653985" y="823939"/>
                    <a:pt x="653985" y="831008"/>
                  </a:cubicBezTo>
                  <a:cubicBezTo>
                    <a:pt x="653985" y="838076"/>
                    <a:pt x="659708" y="843799"/>
                    <a:pt x="666776" y="843799"/>
                  </a:cubicBezTo>
                  <a:cubicBezTo>
                    <a:pt x="673844" y="843799"/>
                    <a:pt x="679567" y="838076"/>
                    <a:pt x="679567" y="831008"/>
                  </a:cubicBezTo>
                  <a:cubicBezTo>
                    <a:pt x="679567" y="823939"/>
                    <a:pt x="673844" y="818217"/>
                    <a:pt x="666776" y="818217"/>
                  </a:cubicBezTo>
                  <a:moveTo>
                    <a:pt x="666776" y="859121"/>
                  </a:moveTo>
                  <a:cubicBezTo>
                    <a:pt x="659708" y="859121"/>
                    <a:pt x="653985" y="864843"/>
                    <a:pt x="653985" y="871912"/>
                  </a:cubicBezTo>
                  <a:cubicBezTo>
                    <a:pt x="653985" y="878980"/>
                    <a:pt x="659708" y="884703"/>
                    <a:pt x="666776" y="884703"/>
                  </a:cubicBezTo>
                  <a:cubicBezTo>
                    <a:pt x="673844" y="884703"/>
                    <a:pt x="679567" y="878980"/>
                    <a:pt x="679567" y="871912"/>
                  </a:cubicBezTo>
                  <a:cubicBezTo>
                    <a:pt x="679567" y="864843"/>
                    <a:pt x="673844" y="859121"/>
                    <a:pt x="666776" y="859121"/>
                  </a:cubicBezTo>
                  <a:moveTo>
                    <a:pt x="625849" y="204543"/>
                  </a:moveTo>
                  <a:cubicBezTo>
                    <a:pt x="618781" y="204543"/>
                    <a:pt x="613058" y="210266"/>
                    <a:pt x="613058" y="217334"/>
                  </a:cubicBezTo>
                  <a:cubicBezTo>
                    <a:pt x="613058" y="224402"/>
                    <a:pt x="618781" y="230125"/>
                    <a:pt x="625849" y="230125"/>
                  </a:cubicBezTo>
                  <a:cubicBezTo>
                    <a:pt x="632917" y="230125"/>
                    <a:pt x="638640" y="224402"/>
                    <a:pt x="638640" y="217334"/>
                  </a:cubicBezTo>
                  <a:cubicBezTo>
                    <a:pt x="638640" y="210266"/>
                    <a:pt x="632917" y="204543"/>
                    <a:pt x="625849" y="204543"/>
                  </a:cubicBezTo>
                  <a:moveTo>
                    <a:pt x="625849" y="245470"/>
                  </a:moveTo>
                  <a:cubicBezTo>
                    <a:pt x="618781" y="245470"/>
                    <a:pt x="613058" y="251192"/>
                    <a:pt x="613058" y="258261"/>
                  </a:cubicBezTo>
                  <a:cubicBezTo>
                    <a:pt x="613058" y="265329"/>
                    <a:pt x="618781" y="271052"/>
                    <a:pt x="625849" y="271052"/>
                  </a:cubicBezTo>
                  <a:cubicBezTo>
                    <a:pt x="632917" y="271052"/>
                    <a:pt x="638640" y="265329"/>
                    <a:pt x="638640" y="258261"/>
                  </a:cubicBezTo>
                  <a:cubicBezTo>
                    <a:pt x="638640" y="251192"/>
                    <a:pt x="632917" y="245470"/>
                    <a:pt x="625849" y="245470"/>
                  </a:cubicBezTo>
                  <a:moveTo>
                    <a:pt x="625849" y="286374"/>
                  </a:moveTo>
                  <a:cubicBezTo>
                    <a:pt x="618781" y="286374"/>
                    <a:pt x="613058" y="292096"/>
                    <a:pt x="613058" y="299165"/>
                  </a:cubicBezTo>
                  <a:cubicBezTo>
                    <a:pt x="613058" y="306233"/>
                    <a:pt x="618781" y="311956"/>
                    <a:pt x="625849" y="311956"/>
                  </a:cubicBezTo>
                  <a:cubicBezTo>
                    <a:pt x="632917" y="311956"/>
                    <a:pt x="638640" y="306233"/>
                    <a:pt x="638640" y="299165"/>
                  </a:cubicBezTo>
                  <a:cubicBezTo>
                    <a:pt x="638640" y="292096"/>
                    <a:pt x="632917" y="286374"/>
                    <a:pt x="625849" y="286374"/>
                  </a:cubicBezTo>
                  <a:moveTo>
                    <a:pt x="625849" y="327277"/>
                  </a:moveTo>
                  <a:cubicBezTo>
                    <a:pt x="618781" y="327277"/>
                    <a:pt x="613058" y="333000"/>
                    <a:pt x="613058" y="340069"/>
                  </a:cubicBezTo>
                  <a:cubicBezTo>
                    <a:pt x="613058" y="347137"/>
                    <a:pt x="618781" y="352860"/>
                    <a:pt x="625849" y="352860"/>
                  </a:cubicBezTo>
                  <a:cubicBezTo>
                    <a:pt x="632917" y="352860"/>
                    <a:pt x="638640" y="347137"/>
                    <a:pt x="638640" y="340069"/>
                  </a:cubicBezTo>
                  <a:cubicBezTo>
                    <a:pt x="638640" y="333000"/>
                    <a:pt x="632917" y="327277"/>
                    <a:pt x="625849" y="327277"/>
                  </a:cubicBezTo>
                  <a:moveTo>
                    <a:pt x="625849" y="368204"/>
                  </a:moveTo>
                  <a:cubicBezTo>
                    <a:pt x="618781" y="368204"/>
                    <a:pt x="613058" y="373927"/>
                    <a:pt x="613058" y="380995"/>
                  </a:cubicBezTo>
                  <a:cubicBezTo>
                    <a:pt x="613058" y="388063"/>
                    <a:pt x="618781" y="393786"/>
                    <a:pt x="625849" y="393786"/>
                  </a:cubicBezTo>
                  <a:cubicBezTo>
                    <a:pt x="632917" y="393786"/>
                    <a:pt x="638640" y="388063"/>
                    <a:pt x="638640" y="380995"/>
                  </a:cubicBezTo>
                  <a:cubicBezTo>
                    <a:pt x="638640" y="373927"/>
                    <a:pt x="632917" y="368204"/>
                    <a:pt x="625849" y="368204"/>
                  </a:cubicBezTo>
                  <a:moveTo>
                    <a:pt x="625849" y="409108"/>
                  </a:moveTo>
                  <a:cubicBezTo>
                    <a:pt x="618781" y="409108"/>
                    <a:pt x="613058" y="414831"/>
                    <a:pt x="613058" y="421899"/>
                  </a:cubicBezTo>
                  <a:cubicBezTo>
                    <a:pt x="613058" y="428967"/>
                    <a:pt x="618781" y="434690"/>
                    <a:pt x="625849" y="434690"/>
                  </a:cubicBezTo>
                  <a:cubicBezTo>
                    <a:pt x="632917" y="434690"/>
                    <a:pt x="638640" y="428967"/>
                    <a:pt x="638640" y="421899"/>
                  </a:cubicBezTo>
                  <a:cubicBezTo>
                    <a:pt x="638640" y="414831"/>
                    <a:pt x="632917" y="409108"/>
                    <a:pt x="625849" y="409108"/>
                  </a:cubicBezTo>
                  <a:moveTo>
                    <a:pt x="625849" y="450012"/>
                  </a:moveTo>
                  <a:cubicBezTo>
                    <a:pt x="618781" y="450012"/>
                    <a:pt x="613058" y="455735"/>
                    <a:pt x="613058" y="462803"/>
                  </a:cubicBezTo>
                  <a:cubicBezTo>
                    <a:pt x="613058" y="469871"/>
                    <a:pt x="618781" y="475594"/>
                    <a:pt x="625849" y="475594"/>
                  </a:cubicBezTo>
                  <a:cubicBezTo>
                    <a:pt x="632917" y="475594"/>
                    <a:pt x="638640" y="469871"/>
                    <a:pt x="638640" y="462803"/>
                  </a:cubicBezTo>
                  <a:cubicBezTo>
                    <a:pt x="638640" y="455735"/>
                    <a:pt x="632917" y="450012"/>
                    <a:pt x="625849" y="450012"/>
                  </a:cubicBezTo>
                  <a:moveTo>
                    <a:pt x="625849" y="490939"/>
                  </a:moveTo>
                  <a:cubicBezTo>
                    <a:pt x="618781" y="490939"/>
                    <a:pt x="613058" y="496662"/>
                    <a:pt x="613058" y="503730"/>
                  </a:cubicBezTo>
                  <a:cubicBezTo>
                    <a:pt x="613058" y="510798"/>
                    <a:pt x="618781" y="516521"/>
                    <a:pt x="625849" y="516521"/>
                  </a:cubicBezTo>
                  <a:cubicBezTo>
                    <a:pt x="632917" y="516521"/>
                    <a:pt x="638640" y="510798"/>
                    <a:pt x="638640" y="503730"/>
                  </a:cubicBezTo>
                  <a:cubicBezTo>
                    <a:pt x="638640" y="496662"/>
                    <a:pt x="632917" y="490939"/>
                    <a:pt x="625849" y="490939"/>
                  </a:cubicBezTo>
                  <a:moveTo>
                    <a:pt x="625849" y="531843"/>
                  </a:moveTo>
                  <a:cubicBezTo>
                    <a:pt x="618781" y="531843"/>
                    <a:pt x="613058" y="537566"/>
                    <a:pt x="613058" y="544634"/>
                  </a:cubicBezTo>
                  <a:cubicBezTo>
                    <a:pt x="613058" y="551702"/>
                    <a:pt x="618781" y="557425"/>
                    <a:pt x="625849" y="557425"/>
                  </a:cubicBezTo>
                  <a:cubicBezTo>
                    <a:pt x="632917" y="557425"/>
                    <a:pt x="638640" y="551702"/>
                    <a:pt x="638640" y="544634"/>
                  </a:cubicBezTo>
                  <a:cubicBezTo>
                    <a:pt x="638640" y="537566"/>
                    <a:pt x="632917" y="531843"/>
                    <a:pt x="625849" y="531843"/>
                  </a:cubicBezTo>
                  <a:moveTo>
                    <a:pt x="625849" y="572747"/>
                  </a:moveTo>
                  <a:cubicBezTo>
                    <a:pt x="618781" y="572747"/>
                    <a:pt x="613058" y="578470"/>
                    <a:pt x="613058" y="585538"/>
                  </a:cubicBezTo>
                  <a:cubicBezTo>
                    <a:pt x="613058" y="592606"/>
                    <a:pt x="618781" y="598329"/>
                    <a:pt x="625849" y="598329"/>
                  </a:cubicBezTo>
                  <a:cubicBezTo>
                    <a:pt x="632917" y="598329"/>
                    <a:pt x="638640" y="592606"/>
                    <a:pt x="638640" y="585538"/>
                  </a:cubicBezTo>
                  <a:cubicBezTo>
                    <a:pt x="638640" y="578470"/>
                    <a:pt x="632917" y="572747"/>
                    <a:pt x="625849" y="572747"/>
                  </a:cubicBezTo>
                  <a:moveTo>
                    <a:pt x="625849" y="613674"/>
                  </a:moveTo>
                  <a:cubicBezTo>
                    <a:pt x="618781" y="613674"/>
                    <a:pt x="613058" y="619397"/>
                    <a:pt x="613058" y="626465"/>
                  </a:cubicBezTo>
                  <a:cubicBezTo>
                    <a:pt x="613058" y="633533"/>
                    <a:pt x="618781" y="639256"/>
                    <a:pt x="625849" y="639256"/>
                  </a:cubicBezTo>
                  <a:cubicBezTo>
                    <a:pt x="632917" y="639256"/>
                    <a:pt x="638640" y="633533"/>
                    <a:pt x="638640" y="626465"/>
                  </a:cubicBezTo>
                  <a:cubicBezTo>
                    <a:pt x="638640" y="619397"/>
                    <a:pt x="632917" y="613674"/>
                    <a:pt x="625849" y="613674"/>
                  </a:cubicBezTo>
                  <a:moveTo>
                    <a:pt x="625849" y="654578"/>
                  </a:moveTo>
                  <a:cubicBezTo>
                    <a:pt x="618781" y="654578"/>
                    <a:pt x="613058" y="660301"/>
                    <a:pt x="613058" y="667369"/>
                  </a:cubicBezTo>
                  <a:cubicBezTo>
                    <a:pt x="613058" y="674437"/>
                    <a:pt x="618781" y="680160"/>
                    <a:pt x="625849" y="680160"/>
                  </a:cubicBezTo>
                  <a:cubicBezTo>
                    <a:pt x="632917" y="680160"/>
                    <a:pt x="638640" y="674437"/>
                    <a:pt x="638640" y="667369"/>
                  </a:cubicBezTo>
                  <a:cubicBezTo>
                    <a:pt x="638640" y="660301"/>
                    <a:pt x="632917" y="654578"/>
                    <a:pt x="625849" y="654578"/>
                  </a:cubicBezTo>
                  <a:moveTo>
                    <a:pt x="625849" y="695482"/>
                  </a:moveTo>
                  <a:cubicBezTo>
                    <a:pt x="618781" y="695482"/>
                    <a:pt x="613058" y="701205"/>
                    <a:pt x="613058" y="708273"/>
                  </a:cubicBezTo>
                  <a:cubicBezTo>
                    <a:pt x="613058" y="715341"/>
                    <a:pt x="618781" y="721064"/>
                    <a:pt x="625849" y="721064"/>
                  </a:cubicBezTo>
                  <a:cubicBezTo>
                    <a:pt x="632917" y="721064"/>
                    <a:pt x="638640" y="715341"/>
                    <a:pt x="638640" y="708273"/>
                  </a:cubicBezTo>
                  <a:cubicBezTo>
                    <a:pt x="638640" y="701205"/>
                    <a:pt x="632917" y="695482"/>
                    <a:pt x="625849" y="695482"/>
                  </a:cubicBezTo>
                  <a:moveTo>
                    <a:pt x="625849" y="736386"/>
                  </a:moveTo>
                  <a:cubicBezTo>
                    <a:pt x="618781" y="736386"/>
                    <a:pt x="613058" y="742109"/>
                    <a:pt x="613058" y="749177"/>
                  </a:cubicBezTo>
                  <a:cubicBezTo>
                    <a:pt x="613058" y="756245"/>
                    <a:pt x="618781" y="761968"/>
                    <a:pt x="625849" y="761968"/>
                  </a:cubicBezTo>
                  <a:cubicBezTo>
                    <a:pt x="632917" y="761968"/>
                    <a:pt x="638640" y="756245"/>
                    <a:pt x="638640" y="749177"/>
                  </a:cubicBezTo>
                  <a:cubicBezTo>
                    <a:pt x="638640" y="742109"/>
                    <a:pt x="632917" y="736386"/>
                    <a:pt x="625849" y="736386"/>
                  </a:cubicBezTo>
                  <a:moveTo>
                    <a:pt x="625849" y="777313"/>
                  </a:moveTo>
                  <a:cubicBezTo>
                    <a:pt x="618781" y="777313"/>
                    <a:pt x="613058" y="783035"/>
                    <a:pt x="613058" y="790104"/>
                  </a:cubicBezTo>
                  <a:cubicBezTo>
                    <a:pt x="613058" y="797172"/>
                    <a:pt x="618781" y="802895"/>
                    <a:pt x="625849" y="802895"/>
                  </a:cubicBezTo>
                  <a:cubicBezTo>
                    <a:pt x="632917" y="802895"/>
                    <a:pt x="638640" y="797172"/>
                    <a:pt x="638640" y="790104"/>
                  </a:cubicBezTo>
                  <a:cubicBezTo>
                    <a:pt x="638640" y="783035"/>
                    <a:pt x="632917" y="777313"/>
                    <a:pt x="625849" y="777313"/>
                  </a:cubicBezTo>
                  <a:moveTo>
                    <a:pt x="625849" y="818217"/>
                  </a:moveTo>
                  <a:cubicBezTo>
                    <a:pt x="618781" y="818217"/>
                    <a:pt x="613058" y="823939"/>
                    <a:pt x="613058" y="831008"/>
                  </a:cubicBezTo>
                  <a:cubicBezTo>
                    <a:pt x="613058" y="838076"/>
                    <a:pt x="618781" y="843799"/>
                    <a:pt x="625849" y="843799"/>
                  </a:cubicBezTo>
                  <a:cubicBezTo>
                    <a:pt x="632917" y="843799"/>
                    <a:pt x="638640" y="838076"/>
                    <a:pt x="638640" y="831008"/>
                  </a:cubicBezTo>
                  <a:cubicBezTo>
                    <a:pt x="638640" y="823939"/>
                    <a:pt x="632917" y="818217"/>
                    <a:pt x="625849" y="818217"/>
                  </a:cubicBezTo>
                  <a:moveTo>
                    <a:pt x="625849" y="859121"/>
                  </a:moveTo>
                  <a:cubicBezTo>
                    <a:pt x="618781" y="859121"/>
                    <a:pt x="613058" y="864843"/>
                    <a:pt x="613058" y="871912"/>
                  </a:cubicBezTo>
                  <a:cubicBezTo>
                    <a:pt x="613058" y="878980"/>
                    <a:pt x="618781" y="884703"/>
                    <a:pt x="625849" y="884703"/>
                  </a:cubicBezTo>
                  <a:cubicBezTo>
                    <a:pt x="632917" y="884703"/>
                    <a:pt x="638640" y="878980"/>
                    <a:pt x="638640" y="871912"/>
                  </a:cubicBezTo>
                  <a:cubicBezTo>
                    <a:pt x="638640" y="864843"/>
                    <a:pt x="632917" y="859121"/>
                    <a:pt x="625849" y="859121"/>
                  </a:cubicBezTo>
                  <a:moveTo>
                    <a:pt x="584945" y="245470"/>
                  </a:moveTo>
                  <a:cubicBezTo>
                    <a:pt x="577877" y="245470"/>
                    <a:pt x="572154" y="251192"/>
                    <a:pt x="572154" y="258261"/>
                  </a:cubicBezTo>
                  <a:cubicBezTo>
                    <a:pt x="572154" y="265329"/>
                    <a:pt x="577877" y="271052"/>
                    <a:pt x="584945" y="271052"/>
                  </a:cubicBezTo>
                  <a:cubicBezTo>
                    <a:pt x="592013" y="271052"/>
                    <a:pt x="597736" y="265329"/>
                    <a:pt x="597736" y="258261"/>
                  </a:cubicBezTo>
                  <a:cubicBezTo>
                    <a:pt x="597736" y="251192"/>
                    <a:pt x="592013" y="245470"/>
                    <a:pt x="584945" y="245470"/>
                  </a:cubicBezTo>
                  <a:moveTo>
                    <a:pt x="584945" y="286374"/>
                  </a:moveTo>
                  <a:cubicBezTo>
                    <a:pt x="577877" y="286374"/>
                    <a:pt x="572154" y="292096"/>
                    <a:pt x="572154" y="299165"/>
                  </a:cubicBezTo>
                  <a:cubicBezTo>
                    <a:pt x="572154" y="306233"/>
                    <a:pt x="577877" y="311956"/>
                    <a:pt x="584945" y="311956"/>
                  </a:cubicBezTo>
                  <a:cubicBezTo>
                    <a:pt x="592013" y="311956"/>
                    <a:pt x="597736" y="306233"/>
                    <a:pt x="597736" y="299165"/>
                  </a:cubicBezTo>
                  <a:cubicBezTo>
                    <a:pt x="597736" y="292096"/>
                    <a:pt x="592013" y="286374"/>
                    <a:pt x="584945" y="286374"/>
                  </a:cubicBezTo>
                  <a:moveTo>
                    <a:pt x="584945" y="327277"/>
                  </a:moveTo>
                  <a:cubicBezTo>
                    <a:pt x="577877" y="327277"/>
                    <a:pt x="572154" y="333000"/>
                    <a:pt x="572154" y="340069"/>
                  </a:cubicBezTo>
                  <a:cubicBezTo>
                    <a:pt x="572154" y="347137"/>
                    <a:pt x="577877" y="352860"/>
                    <a:pt x="584945" y="352860"/>
                  </a:cubicBezTo>
                  <a:cubicBezTo>
                    <a:pt x="592013" y="352860"/>
                    <a:pt x="597736" y="347137"/>
                    <a:pt x="597736" y="340069"/>
                  </a:cubicBezTo>
                  <a:cubicBezTo>
                    <a:pt x="597736" y="333000"/>
                    <a:pt x="592013" y="327277"/>
                    <a:pt x="584945" y="327277"/>
                  </a:cubicBezTo>
                  <a:moveTo>
                    <a:pt x="584945" y="368204"/>
                  </a:moveTo>
                  <a:cubicBezTo>
                    <a:pt x="577877" y="368204"/>
                    <a:pt x="572154" y="373927"/>
                    <a:pt x="572154" y="380995"/>
                  </a:cubicBezTo>
                  <a:cubicBezTo>
                    <a:pt x="572154" y="388063"/>
                    <a:pt x="577877" y="393786"/>
                    <a:pt x="584945" y="393786"/>
                  </a:cubicBezTo>
                  <a:cubicBezTo>
                    <a:pt x="592013" y="393786"/>
                    <a:pt x="597736" y="388063"/>
                    <a:pt x="597736" y="380995"/>
                  </a:cubicBezTo>
                  <a:cubicBezTo>
                    <a:pt x="597736" y="373927"/>
                    <a:pt x="592013" y="368204"/>
                    <a:pt x="584945" y="368204"/>
                  </a:cubicBezTo>
                  <a:moveTo>
                    <a:pt x="584945" y="409108"/>
                  </a:moveTo>
                  <a:cubicBezTo>
                    <a:pt x="577877" y="409108"/>
                    <a:pt x="572154" y="414831"/>
                    <a:pt x="572154" y="421899"/>
                  </a:cubicBezTo>
                  <a:cubicBezTo>
                    <a:pt x="572154" y="428967"/>
                    <a:pt x="577877" y="434690"/>
                    <a:pt x="584945" y="434690"/>
                  </a:cubicBezTo>
                  <a:cubicBezTo>
                    <a:pt x="592013" y="434690"/>
                    <a:pt x="597736" y="428967"/>
                    <a:pt x="597736" y="421899"/>
                  </a:cubicBezTo>
                  <a:cubicBezTo>
                    <a:pt x="597736" y="414831"/>
                    <a:pt x="592013" y="409108"/>
                    <a:pt x="584945" y="409108"/>
                  </a:cubicBezTo>
                  <a:moveTo>
                    <a:pt x="584945" y="450012"/>
                  </a:moveTo>
                  <a:cubicBezTo>
                    <a:pt x="577877" y="450012"/>
                    <a:pt x="572154" y="455735"/>
                    <a:pt x="572154" y="462803"/>
                  </a:cubicBezTo>
                  <a:cubicBezTo>
                    <a:pt x="572154" y="469871"/>
                    <a:pt x="577877" y="475594"/>
                    <a:pt x="584945" y="475594"/>
                  </a:cubicBezTo>
                  <a:cubicBezTo>
                    <a:pt x="592013" y="475594"/>
                    <a:pt x="597736" y="469871"/>
                    <a:pt x="597736" y="462803"/>
                  </a:cubicBezTo>
                  <a:cubicBezTo>
                    <a:pt x="597736" y="455735"/>
                    <a:pt x="592013" y="450012"/>
                    <a:pt x="584945" y="450012"/>
                  </a:cubicBezTo>
                  <a:moveTo>
                    <a:pt x="584945" y="490939"/>
                  </a:moveTo>
                  <a:cubicBezTo>
                    <a:pt x="577877" y="490939"/>
                    <a:pt x="572154" y="496662"/>
                    <a:pt x="572154" y="503730"/>
                  </a:cubicBezTo>
                  <a:cubicBezTo>
                    <a:pt x="572154" y="510798"/>
                    <a:pt x="577877" y="516521"/>
                    <a:pt x="584945" y="516521"/>
                  </a:cubicBezTo>
                  <a:cubicBezTo>
                    <a:pt x="592013" y="516521"/>
                    <a:pt x="597736" y="510798"/>
                    <a:pt x="597736" y="503730"/>
                  </a:cubicBezTo>
                  <a:cubicBezTo>
                    <a:pt x="597736" y="496662"/>
                    <a:pt x="592013" y="490939"/>
                    <a:pt x="584945" y="490939"/>
                  </a:cubicBezTo>
                  <a:moveTo>
                    <a:pt x="584945" y="531843"/>
                  </a:moveTo>
                  <a:cubicBezTo>
                    <a:pt x="577877" y="531843"/>
                    <a:pt x="572154" y="537566"/>
                    <a:pt x="572154" y="544634"/>
                  </a:cubicBezTo>
                  <a:cubicBezTo>
                    <a:pt x="572154" y="551702"/>
                    <a:pt x="577877" y="557425"/>
                    <a:pt x="584945" y="557425"/>
                  </a:cubicBezTo>
                  <a:cubicBezTo>
                    <a:pt x="592013" y="557425"/>
                    <a:pt x="597736" y="551702"/>
                    <a:pt x="597736" y="544634"/>
                  </a:cubicBezTo>
                  <a:cubicBezTo>
                    <a:pt x="597736" y="537566"/>
                    <a:pt x="592013" y="531843"/>
                    <a:pt x="584945" y="531843"/>
                  </a:cubicBezTo>
                  <a:moveTo>
                    <a:pt x="584945" y="572747"/>
                  </a:moveTo>
                  <a:cubicBezTo>
                    <a:pt x="577877" y="572747"/>
                    <a:pt x="572154" y="578470"/>
                    <a:pt x="572154" y="585538"/>
                  </a:cubicBezTo>
                  <a:cubicBezTo>
                    <a:pt x="572154" y="592606"/>
                    <a:pt x="577877" y="598329"/>
                    <a:pt x="584945" y="598329"/>
                  </a:cubicBezTo>
                  <a:cubicBezTo>
                    <a:pt x="592013" y="598329"/>
                    <a:pt x="597736" y="592606"/>
                    <a:pt x="597736" y="585538"/>
                  </a:cubicBezTo>
                  <a:cubicBezTo>
                    <a:pt x="597736" y="578470"/>
                    <a:pt x="592013" y="572747"/>
                    <a:pt x="584945" y="572747"/>
                  </a:cubicBezTo>
                  <a:moveTo>
                    <a:pt x="584945" y="613674"/>
                  </a:moveTo>
                  <a:cubicBezTo>
                    <a:pt x="577877" y="613674"/>
                    <a:pt x="572154" y="619397"/>
                    <a:pt x="572154" y="626465"/>
                  </a:cubicBezTo>
                  <a:cubicBezTo>
                    <a:pt x="572154" y="633533"/>
                    <a:pt x="577877" y="639256"/>
                    <a:pt x="584945" y="639256"/>
                  </a:cubicBezTo>
                  <a:cubicBezTo>
                    <a:pt x="592013" y="639256"/>
                    <a:pt x="597736" y="633533"/>
                    <a:pt x="597736" y="626465"/>
                  </a:cubicBezTo>
                  <a:cubicBezTo>
                    <a:pt x="597736" y="619397"/>
                    <a:pt x="592013" y="613674"/>
                    <a:pt x="584945" y="613674"/>
                  </a:cubicBezTo>
                  <a:moveTo>
                    <a:pt x="584945" y="654578"/>
                  </a:moveTo>
                  <a:cubicBezTo>
                    <a:pt x="577877" y="654578"/>
                    <a:pt x="572154" y="660301"/>
                    <a:pt x="572154" y="667369"/>
                  </a:cubicBezTo>
                  <a:cubicBezTo>
                    <a:pt x="572154" y="674437"/>
                    <a:pt x="577877" y="680160"/>
                    <a:pt x="584945" y="680160"/>
                  </a:cubicBezTo>
                  <a:cubicBezTo>
                    <a:pt x="592013" y="680160"/>
                    <a:pt x="597736" y="674437"/>
                    <a:pt x="597736" y="667369"/>
                  </a:cubicBezTo>
                  <a:cubicBezTo>
                    <a:pt x="597736" y="660301"/>
                    <a:pt x="592013" y="654578"/>
                    <a:pt x="584945" y="654578"/>
                  </a:cubicBezTo>
                  <a:moveTo>
                    <a:pt x="584945" y="695482"/>
                  </a:moveTo>
                  <a:cubicBezTo>
                    <a:pt x="577877" y="695482"/>
                    <a:pt x="572154" y="701205"/>
                    <a:pt x="572154" y="708273"/>
                  </a:cubicBezTo>
                  <a:cubicBezTo>
                    <a:pt x="572154" y="715341"/>
                    <a:pt x="577877" y="721064"/>
                    <a:pt x="584945" y="721064"/>
                  </a:cubicBezTo>
                  <a:cubicBezTo>
                    <a:pt x="592013" y="721064"/>
                    <a:pt x="597736" y="715341"/>
                    <a:pt x="597736" y="708273"/>
                  </a:cubicBezTo>
                  <a:cubicBezTo>
                    <a:pt x="597736" y="701205"/>
                    <a:pt x="592013" y="695482"/>
                    <a:pt x="584945" y="695482"/>
                  </a:cubicBezTo>
                  <a:moveTo>
                    <a:pt x="584945" y="736386"/>
                  </a:moveTo>
                  <a:cubicBezTo>
                    <a:pt x="577877" y="736386"/>
                    <a:pt x="572154" y="742109"/>
                    <a:pt x="572154" y="749177"/>
                  </a:cubicBezTo>
                  <a:cubicBezTo>
                    <a:pt x="572154" y="756245"/>
                    <a:pt x="577877" y="761968"/>
                    <a:pt x="584945" y="761968"/>
                  </a:cubicBezTo>
                  <a:cubicBezTo>
                    <a:pt x="592013" y="761968"/>
                    <a:pt x="597736" y="756245"/>
                    <a:pt x="597736" y="749177"/>
                  </a:cubicBezTo>
                  <a:cubicBezTo>
                    <a:pt x="597736" y="742109"/>
                    <a:pt x="592013" y="736386"/>
                    <a:pt x="584945" y="736386"/>
                  </a:cubicBezTo>
                  <a:moveTo>
                    <a:pt x="584945" y="777313"/>
                  </a:moveTo>
                  <a:cubicBezTo>
                    <a:pt x="577877" y="777313"/>
                    <a:pt x="572154" y="783035"/>
                    <a:pt x="572154" y="790104"/>
                  </a:cubicBezTo>
                  <a:cubicBezTo>
                    <a:pt x="572154" y="797172"/>
                    <a:pt x="577877" y="802895"/>
                    <a:pt x="584945" y="802895"/>
                  </a:cubicBezTo>
                  <a:cubicBezTo>
                    <a:pt x="592013" y="802895"/>
                    <a:pt x="597736" y="797172"/>
                    <a:pt x="597736" y="790104"/>
                  </a:cubicBezTo>
                  <a:cubicBezTo>
                    <a:pt x="597736" y="783035"/>
                    <a:pt x="592013" y="777313"/>
                    <a:pt x="584945" y="777313"/>
                  </a:cubicBezTo>
                  <a:moveTo>
                    <a:pt x="584945" y="818217"/>
                  </a:moveTo>
                  <a:cubicBezTo>
                    <a:pt x="577877" y="818217"/>
                    <a:pt x="572154" y="823939"/>
                    <a:pt x="572154" y="831008"/>
                  </a:cubicBezTo>
                  <a:cubicBezTo>
                    <a:pt x="572154" y="838076"/>
                    <a:pt x="577877" y="843799"/>
                    <a:pt x="584945" y="843799"/>
                  </a:cubicBezTo>
                  <a:cubicBezTo>
                    <a:pt x="592013" y="843799"/>
                    <a:pt x="597736" y="838076"/>
                    <a:pt x="597736" y="831008"/>
                  </a:cubicBezTo>
                  <a:cubicBezTo>
                    <a:pt x="597736" y="823939"/>
                    <a:pt x="592013" y="818217"/>
                    <a:pt x="584945" y="818217"/>
                  </a:cubicBezTo>
                  <a:moveTo>
                    <a:pt x="584945" y="859121"/>
                  </a:moveTo>
                  <a:cubicBezTo>
                    <a:pt x="577877" y="859121"/>
                    <a:pt x="572154" y="864843"/>
                    <a:pt x="572154" y="871912"/>
                  </a:cubicBezTo>
                  <a:cubicBezTo>
                    <a:pt x="572154" y="878980"/>
                    <a:pt x="577877" y="884703"/>
                    <a:pt x="584945" y="884703"/>
                  </a:cubicBezTo>
                  <a:cubicBezTo>
                    <a:pt x="592013" y="884703"/>
                    <a:pt x="597736" y="878980"/>
                    <a:pt x="597736" y="871912"/>
                  </a:cubicBezTo>
                  <a:cubicBezTo>
                    <a:pt x="597736" y="864843"/>
                    <a:pt x="592013" y="859121"/>
                    <a:pt x="584945" y="859121"/>
                  </a:cubicBezTo>
                  <a:moveTo>
                    <a:pt x="544041" y="286374"/>
                  </a:moveTo>
                  <a:cubicBezTo>
                    <a:pt x="536973" y="286374"/>
                    <a:pt x="531250" y="292096"/>
                    <a:pt x="531250" y="299165"/>
                  </a:cubicBezTo>
                  <a:cubicBezTo>
                    <a:pt x="531250" y="306233"/>
                    <a:pt x="536973" y="311956"/>
                    <a:pt x="544041" y="311956"/>
                  </a:cubicBezTo>
                  <a:cubicBezTo>
                    <a:pt x="551109" y="311956"/>
                    <a:pt x="556832" y="306233"/>
                    <a:pt x="556832" y="299165"/>
                  </a:cubicBezTo>
                  <a:cubicBezTo>
                    <a:pt x="556832" y="292096"/>
                    <a:pt x="551109" y="286374"/>
                    <a:pt x="544041" y="286374"/>
                  </a:cubicBezTo>
                  <a:moveTo>
                    <a:pt x="544041" y="327277"/>
                  </a:moveTo>
                  <a:cubicBezTo>
                    <a:pt x="536973" y="327277"/>
                    <a:pt x="531250" y="333000"/>
                    <a:pt x="531250" y="340069"/>
                  </a:cubicBezTo>
                  <a:cubicBezTo>
                    <a:pt x="531250" y="347137"/>
                    <a:pt x="536973" y="352860"/>
                    <a:pt x="544041" y="352860"/>
                  </a:cubicBezTo>
                  <a:cubicBezTo>
                    <a:pt x="551109" y="352860"/>
                    <a:pt x="556832" y="347137"/>
                    <a:pt x="556832" y="340069"/>
                  </a:cubicBezTo>
                  <a:cubicBezTo>
                    <a:pt x="556832" y="333000"/>
                    <a:pt x="551109" y="327277"/>
                    <a:pt x="544041" y="327277"/>
                  </a:cubicBezTo>
                  <a:moveTo>
                    <a:pt x="544041" y="368204"/>
                  </a:moveTo>
                  <a:cubicBezTo>
                    <a:pt x="536973" y="368204"/>
                    <a:pt x="531250" y="373927"/>
                    <a:pt x="531250" y="380995"/>
                  </a:cubicBezTo>
                  <a:cubicBezTo>
                    <a:pt x="531250" y="388063"/>
                    <a:pt x="536973" y="393786"/>
                    <a:pt x="544041" y="393786"/>
                  </a:cubicBezTo>
                  <a:cubicBezTo>
                    <a:pt x="551109" y="393786"/>
                    <a:pt x="556832" y="388063"/>
                    <a:pt x="556832" y="380995"/>
                  </a:cubicBezTo>
                  <a:cubicBezTo>
                    <a:pt x="556832" y="373927"/>
                    <a:pt x="551109" y="368204"/>
                    <a:pt x="544041" y="368204"/>
                  </a:cubicBezTo>
                  <a:moveTo>
                    <a:pt x="544041" y="409108"/>
                  </a:moveTo>
                  <a:cubicBezTo>
                    <a:pt x="536973" y="409108"/>
                    <a:pt x="531250" y="414831"/>
                    <a:pt x="531250" y="421899"/>
                  </a:cubicBezTo>
                  <a:cubicBezTo>
                    <a:pt x="531250" y="428967"/>
                    <a:pt x="536973" y="434690"/>
                    <a:pt x="544041" y="434690"/>
                  </a:cubicBezTo>
                  <a:cubicBezTo>
                    <a:pt x="551109" y="434690"/>
                    <a:pt x="556832" y="428967"/>
                    <a:pt x="556832" y="421899"/>
                  </a:cubicBezTo>
                  <a:cubicBezTo>
                    <a:pt x="556832" y="414831"/>
                    <a:pt x="551109" y="409108"/>
                    <a:pt x="544041" y="409108"/>
                  </a:cubicBezTo>
                  <a:moveTo>
                    <a:pt x="544041" y="450012"/>
                  </a:moveTo>
                  <a:cubicBezTo>
                    <a:pt x="536973" y="450012"/>
                    <a:pt x="531250" y="455735"/>
                    <a:pt x="531250" y="462803"/>
                  </a:cubicBezTo>
                  <a:cubicBezTo>
                    <a:pt x="531250" y="469871"/>
                    <a:pt x="536973" y="475594"/>
                    <a:pt x="544041" y="475594"/>
                  </a:cubicBezTo>
                  <a:cubicBezTo>
                    <a:pt x="551109" y="475594"/>
                    <a:pt x="556832" y="469871"/>
                    <a:pt x="556832" y="462803"/>
                  </a:cubicBezTo>
                  <a:cubicBezTo>
                    <a:pt x="556832" y="455735"/>
                    <a:pt x="551109" y="450012"/>
                    <a:pt x="544041" y="450012"/>
                  </a:cubicBezTo>
                  <a:moveTo>
                    <a:pt x="544041" y="490939"/>
                  </a:moveTo>
                  <a:cubicBezTo>
                    <a:pt x="536973" y="490939"/>
                    <a:pt x="531250" y="496662"/>
                    <a:pt x="531250" y="503730"/>
                  </a:cubicBezTo>
                  <a:cubicBezTo>
                    <a:pt x="531250" y="510798"/>
                    <a:pt x="536973" y="516521"/>
                    <a:pt x="544041" y="516521"/>
                  </a:cubicBezTo>
                  <a:cubicBezTo>
                    <a:pt x="551109" y="516521"/>
                    <a:pt x="556832" y="510798"/>
                    <a:pt x="556832" y="503730"/>
                  </a:cubicBezTo>
                  <a:cubicBezTo>
                    <a:pt x="556832" y="496662"/>
                    <a:pt x="551109" y="490939"/>
                    <a:pt x="544041" y="490939"/>
                  </a:cubicBezTo>
                  <a:moveTo>
                    <a:pt x="544041" y="531843"/>
                  </a:moveTo>
                  <a:cubicBezTo>
                    <a:pt x="536973" y="531843"/>
                    <a:pt x="531250" y="537566"/>
                    <a:pt x="531250" y="544634"/>
                  </a:cubicBezTo>
                  <a:cubicBezTo>
                    <a:pt x="531250" y="551702"/>
                    <a:pt x="536973" y="557425"/>
                    <a:pt x="544041" y="557425"/>
                  </a:cubicBezTo>
                  <a:cubicBezTo>
                    <a:pt x="551109" y="557425"/>
                    <a:pt x="556832" y="551702"/>
                    <a:pt x="556832" y="544634"/>
                  </a:cubicBezTo>
                  <a:cubicBezTo>
                    <a:pt x="556832" y="537566"/>
                    <a:pt x="551109" y="531843"/>
                    <a:pt x="544041" y="531843"/>
                  </a:cubicBezTo>
                  <a:moveTo>
                    <a:pt x="544041" y="572747"/>
                  </a:moveTo>
                  <a:cubicBezTo>
                    <a:pt x="536973" y="572747"/>
                    <a:pt x="531250" y="578470"/>
                    <a:pt x="531250" y="585538"/>
                  </a:cubicBezTo>
                  <a:cubicBezTo>
                    <a:pt x="531250" y="592606"/>
                    <a:pt x="536973" y="598329"/>
                    <a:pt x="544041" y="598329"/>
                  </a:cubicBezTo>
                  <a:cubicBezTo>
                    <a:pt x="551109" y="598329"/>
                    <a:pt x="556832" y="592606"/>
                    <a:pt x="556832" y="585538"/>
                  </a:cubicBezTo>
                  <a:cubicBezTo>
                    <a:pt x="556832" y="578470"/>
                    <a:pt x="551109" y="572747"/>
                    <a:pt x="544041" y="572747"/>
                  </a:cubicBezTo>
                  <a:moveTo>
                    <a:pt x="544041" y="613674"/>
                  </a:moveTo>
                  <a:cubicBezTo>
                    <a:pt x="536973" y="613674"/>
                    <a:pt x="531250" y="619397"/>
                    <a:pt x="531250" y="626465"/>
                  </a:cubicBezTo>
                  <a:cubicBezTo>
                    <a:pt x="531250" y="633533"/>
                    <a:pt x="536973" y="639256"/>
                    <a:pt x="544041" y="639256"/>
                  </a:cubicBezTo>
                  <a:cubicBezTo>
                    <a:pt x="551109" y="639256"/>
                    <a:pt x="556832" y="633533"/>
                    <a:pt x="556832" y="626465"/>
                  </a:cubicBezTo>
                  <a:cubicBezTo>
                    <a:pt x="556832" y="619397"/>
                    <a:pt x="551109" y="613674"/>
                    <a:pt x="544041" y="613674"/>
                  </a:cubicBezTo>
                  <a:moveTo>
                    <a:pt x="544041" y="654578"/>
                  </a:moveTo>
                  <a:cubicBezTo>
                    <a:pt x="536973" y="654578"/>
                    <a:pt x="531250" y="660301"/>
                    <a:pt x="531250" y="667369"/>
                  </a:cubicBezTo>
                  <a:cubicBezTo>
                    <a:pt x="531250" y="674437"/>
                    <a:pt x="536973" y="680160"/>
                    <a:pt x="544041" y="680160"/>
                  </a:cubicBezTo>
                  <a:cubicBezTo>
                    <a:pt x="551109" y="680160"/>
                    <a:pt x="556832" y="674437"/>
                    <a:pt x="556832" y="667369"/>
                  </a:cubicBezTo>
                  <a:cubicBezTo>
                    <a:pt x="556832" y="660301"/>
                    <a:pt x="551109" y="654578"/>
                    <a:pt x="544041" y="654578"/>
                  </a:cubicBezTo>
                  <a:moveTo>
                    <a:pt x="544041" y="695482"/>
                  </a:moveTo>
                  <a:cubicBezTo>
                    <a:pt x="536973" y="695482"/>
                    <a:pt x="531250" y="701205"/>
                    <a:pt x="531250" y="708273"/>
                  </a:cubicBezTo>
                  <a:cubicBezTo>
                    <a:pt x="531250" y="715341"/>
                    <a:pt x="536973" y="721064"/>
                    <a:pt x="544041" y="721064"/>
                  </a:cubicBezTo>
                  <a:cubicBezTo>
                    <a:pt x="551109" y="721064"/>
                    <a:pt x="556832" y="715341"/>
                    <a:pt x="556832" y="708273"/>
                  </a:cubicBezTo>
                  <a:cubicBezTo>
                    <a:pt x="556832" y="701205"/>
                    <a:pt x="551109" y="695482"/>
                    <a:pt x="544041" y="695482"/>
                  </a:cubicBezTo>
                  <a:moveTo>
                    <a:pt x="544041" y="736386"/>
                  </a:moveTo>
                  <a:cubicBezTo>
                    <a:pt x="536973" y="736386"/>
                    <a:pt x="531250" y="742109"/>
                    <a:pt x="531250" y="749177"/>
                  </a:cubicBezTo>
                  <a:cubicBezTo>
                    <a:pt x="531250" y="756245"/>
                    <a:pt x="536973" y="761968"/>
                    <a:pt x="544041" y="761968"/>
                  </a:cubicBezTo>
                  <a:cubicBezTo>
                    <a:pt x="551109" y="761968"/>
                    <a:pt x="556832" y="756245"/>
                    <a:pt x="556832" y="749177"/>
                  </a:cubicBezTo>
                  <a:cubicBezTo>
                    <a:pt x="556832" y="742109"/>
                    <a:pt x="551109" y="736386"/>
                    <a:pt x="544041" y="736386"/>
                  </a:cubicBezTo>
                  <a:moveTo>
                    <a:pt x="544041" y="777313"/>
                  </a:moveTo>
                  <a:cubicBezTo>
                    <a:pt x="536973" y="777313"/>
                    <a:pt x="531250" y="783035"/>
                    <a:pt x="531250" y="790104"/>
                  </a:cubicBezTo>
                  <a:cubicBezTo>
                    <a:pt x="531250" y="797172"/>
                    <a:pt x="536973" y="802895"/>
                    <a:pt x="544041" y="802895"/>
                  </a:cubicBezTo>
                  <a:cubicBezTo>
                    <a:pt x="551109" y="802895"/>
                    <a:pt x="556832" y="797172"/>
                    <a:pt x="556832" y="790104"/>
                  </a:cubicBezTo>
                  <a:cubicBezTo>
                    <a:pt x="556832" y="783035"/>
                    <a:pt x="551109" y="777313"/>
                    <a:pt x="544041" y="777313"/>
                  </a:cubicBezTo>
                  <a:moveTo>
                    <a:pt x="544041" y="818217"/>
                  </a:moveTo>
                  <a:cubicBezTo>
                    <a:pt x="536973" y="818217"/>
                    <a:pt x="531250" y="823939"/>
                    <a:pt x="531250" y="831008"/>
                  </a:cubicBezTo>
                  <a:cubicBezTo>
                    <a:pt x="531250" y="838076"/>
                    <a:pt x="536973" y="843799"/>
                    <a:pt x="544041" y="843799"/>
                  </a:cubicBezTo>
                  <a:cubicBezTo>
                    <a:pt x="551109" y="843799"/>
                    <a:pt x="556832" y="838076"/>
                    <a:pt x="556832" y="831008"/>
                  </a:cubicBezTo>
                  <a:cubicBezTo>
                    <a:pt x="556832" y="823939"/>
                    <a:pt x="551109" y="818217"/>
                    <a:pt x="544041" y="818217"/>
                  </a:cubicBezTo>
                  <a:moveTo>
                    <a:pt x="544041" y="859121"/>
                  </a:moveTo>
                  <a:cubicBezTo>
                    <a:pt x="536973" y="859121"/>
                    <a:pt x="531250" y="864843"/>
                    <a:pt x="531250" y="871912"/>
                  </a:cubicBezTo>
                  <a:cubicBezTo>
                    <a:pt x="531250" y="878980"/>
                    <a:pt x="536973" y="884703"/>
                    <a:pt x="544041" y="884703"/>
                  </a:cubicBezTo>
                  <a:cubicBezTo>
                    <a:pt x="551109" y="884703"/>
                    <a:pt x="556832" y="878980"/>
                    <a:pt x="556832" y="871912"/>
                  </a:cubicBezTo>
                  <a:cubicBezTo>
                    <a:pt x="556832" y="864843"/>
                    <a:pt x="551109" y="859121"/>
                    <a:pt x="544041" y="859121"/>
                  </a:cubicBezTo>
                </a:path>
              </a:pathLst>
            </a:custGeom>
            <a:solidFill>
              <a:schemeClr val="accent2"/>
            </a:solidFill>
            <a:ln w="2263" cap="flat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D3F92AE-B31F-3CD8-7CE3-B0F084DF49B6}"/>
                </a:ext>
              </a:extLst>
            </p:cNvPr>
            <p:cNvSpPr/>
            <p:nvPr userDrawn="1"/>
          </p:nvSpPr>
          <p:spPr>
            <a:xfrm rot="10800000">
              <a:off x="3602071" y="7929419"/>
              <a:ext cx="2383751" cy="265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779A1D7-37F9-4FAC-9993-33B4B69CC221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4649188" y="-3"/>
            <a:ext cx="4407247" cy="6019559"/>
            <a:chOff x="10477007" y="683441"/>
            <a:chExt cx="4407247" cy="6019559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27A1F8B4-B770-5E98-2C93-BED9F6D1FBC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477007" y="683441"/>
              <a:ext cx="348877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/>
                <a:t>CÓMO USAR ESTA PLANTILLA: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384D735-0037-35D6-4486-2CF3DCC64248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895961" y="1193800"/>
              <a:ext cx="3988293" cy="5509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sz="1600" b="1" dirty="0">
                  <a:solidFill>
                    <a:schemeClr val="tx2"/>
                  </a:solidFill>
                </a:rPr>
                <a:t>Edita tu diapositiva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Reemplaza el texto y las imágenes de ejemplo con tu propio contenido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b="0" dirty="0">
                  <a:solidFill>
                    <a:schemeClr val="tx2"/>
                  </a:solidFill>
                </a:rPr>
                <a:t>Asegúrate de que todo se vea bien y quede dentro del diseño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Ve a Archivo → Guardar como</a:t>
              </a:r>
              <a:endParaRPr lang="en-US" sz="1600" b="0" dirty="0">
                <a:solidFill>
                  <a:schemeClr val="tx2"/>
                </a:solidFill>
              </a:endParaRP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dónde quieres guardar tu archivo</a:t>
              </a:r>
              <a:br>
                <a:rPr lang="en-US" sz="1600" b="0" dirty="0">
                  <a:solidFill>
                    <a:schemeClr val="tx2"/>
                  </a:solidFill>
                </a:rPr>
              </a:b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Cambia el tipo de archivo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n el menú desplegable "Guardar como tipo", selecciona: Formato de intercambio de archivos JPEG (*.jpg)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Haz clic en Guardar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PowerPoint te preguntará: "¿Todas las diapositivas?" o "¿Solo esta?"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Elige Solo esta</a:t>
              </a:r>
            </a:p>
            <a:p>
              <a:pPr marL="0" indent="0">
                <a:buFont typeface="+mj-lt"/>
                <a:buNone/>
              </a:pPr>
              <a:endParaRPr lang="en-US" sz="1600" b="0" dirty="0">
                <a:solidFill>
                  <a:schemeClr val="tx2"/>
                </a:solidFill>
              </a:endParaRPr>
            </a:p>
            <a:p>
              <a:pPr marL="0" indent="0">
                <a:buFont typeface="+mj-lt"/>
                <a:buNone/>
              </a:pPr>
              <a:r>
                <a:rPr lang="en-US" sz="1600" b="1" dirty="0">
                  <a:solidFill>
                    <a:schemeClr val="tx2"/>
                  </a:solidFill>
                </a:rPr>
                <a:t>¡Listo!</a:t>
              </a:r>
            </a:p>
            <a:p>
              <a:pPr marL="182880" indent="-182880">
                <a:buFont typeface="Arial" panose="020B0604020202020204" pitchFamily="34" charset="0"/>
                <a:buChar char="•"/>
              </a:pPr>
              <a:r>
                <a:rPr lang="en-US" sz="1600" b="0" dirty="0">
                  <a:solidFill>
                    <a:schemeClr val="tx2"/>
                  </a:solidFill>
                </a:rPr>
                <a:t>Tu archivo JPG se guardará en la carpeta que elegiste, listo para compartir.</a:t>
              </a: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1AEF76B-F921-E05D-4949-B320CC2C886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63678" y="1258818"/>
              <a:ext cx="179205" cy="225550"/>
            </a:xfrm>
            <a:custGeom>
              <a:avLst/>
              <a:gdLst>
                <a:gd name="connsiteX0" fmla="*/ 152305 w 384143"/>
                <a:gd name="connsiteY0" fmla="*/ 0 h 483489"/>
                <a:gd name="connsiteX1" fmla="*/ 384143 w 384143"/>
                <a:gd name="connsiteY1" fmla="*/ 0 h 483489"/>
                <a:gd name="connsiteX2" fmla="*/ 384143 w 384143"/>
                <a:gd name="connsiteY2" fmla="*/ 483489 h 483489"/>
                <a:gd name="connsiteX3" fmla="*/ 244221 w 384143"/>
                <a:gd name="connsiteY3" fmla="*/ 483489 h 483489"/>
                <a:gd name="connsiteX4" fmla="*/ 244221 w 384143"/>
                <a:gd name="connsiteY4" fmla="*/ 64484 h 483489"/>
                <a:gd name="connsiteX5" fmla="*/ 46673 w 384143"/>
                <a:gd name="connsiteY5" fmla="*/ 303181 h 483489"/>
                <a:gd name="connsiteX6" fmla="*/ 0 w 384143"/>
                <a:gd name="connsiteY6" fmla="*/ 183166 h 483489"/>
                <a:gd name="connsiteX7" fmla="*/ 152305 w 384143"/>
                <a:gd name="connsiteY7" fmla="*/ 0 h 4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43" h="483489">
                  <a:moveTo>
                    <a:pt x="152305" y="0"/>
                  </a:moveTo>
                  <a:lnTo>
                    <a:pt x="384143" y="0"/>
                  </a:lnTo>
                  <a:lnTo>
                    <a:pt x="384143" y="483489"/>
                  </a:lnTo>
                  <a:lnTo>
                    <a:pt x="244221" y="483489"/>
                  </a:lnTo>
                  <a:lnTo>
                    <a:pt x="244221" y="64484"/>
                  </a:lnTo>
                  <a:cubicBezTo>
                    <a:pt x="232601" y="178975"/>
                    <a:pt x="200978" y="258604"/>
                    <a:pt x="46673" y="303181"/>
                  </a:cubicBezTo>
                  <a:lnTo>
                    <a:pt x="0" y="183166"/>
                  </a:lnTo>
                  <a:cubicBezTo>
                    <a:pt x="103537" y="148876"/>
                    <a:pt x="146114" y="116681"/>
                    <a:pt x="152305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21317F4-8BCD-BFA3-642D-A0952CA0E35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9436" y="2706475"/>
              <a:ext cx="207688" cy="230439"/>
            </a:xfrm>
            <a:custGeom>
              <a:avLst/>
              <a:gdLst>
                <a:gd name="connsiteX0" fmla="*/ 237363 w 445198"/>
                <a:gd name="connsiteY0" fmla="*/ 191 h 493966"/>
                <a:gd name="connsiteX1" fmla="*/ 445198 w 445198"/>
                <a:gd name="connsiteY1" fmla="*/ 168212 h 493966"/>
                <a:gd name="connsiteX2" fmla="*/ 56960 w 445198"/>
                <a:gd name="connsiteY2" fmla="*/ 371189 h 493966"/>
                <a:gd name="connsiteX3" fmla="*/ 445198 w 445198"/>
                <a:gd name="connsiteY3" fmla="*/ 371189 h 493966"/>
                <a:gd name="connsiteX4" fmla="*/ 445198 w 445198"/>
                <a:gd name="connsiteY4" fmla="*/ 493967 h 493966"/>
                <a:gd name="connsiteX5" fmla="*/ 6953 w 445198"/>
                <a:gd name="connsiteY5" fmla="*/ 493967 h 493966"/>
                <a:gd name="connsiteX6" fmla="*/ 6953 w 445198"/>
                <a:gd name="connsiteY6" fmla="*/ 259366 h 493966"/>
                <a:gd name="connsiteX7" fmla="*/ 305943 w 445198"/>
                <a:gd name="connsiteY7" fmla="*/ 165354 h 493966"/>
                <a:gd name="connsiteX8" fmla="*/ 234601 w 445198"/>
                <a:gd name="connsiteY8" fmla="*/ 122111 h 493966"/>
                <a:gd name="connsiteX9" fmla="*/ 139256 w 445198"/>
                <a:gd name="connsiteY9" fmla="*/ 224981 h 493966"/>
                <a:gd name="connsiteX10" fmla="*/ 0 w 445198"/>
                <a:gd name="connsiteY10" fmla="*/ 224981 h 493966"/>
                <a:gd name="connsiteX11" fmla="*/ 237268 w 445198"/>
                <a:gd name="connsiteY11" fmla="*/ 0 h 4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5198" h="493966">
                  <a:moveTo>
                    <a:pt x="237363" y="191"/>
                  </a:moveTo>
                  <a:cubicBezTo>
                    <a:pt x="360807" y="191"/>
                    <a:pt x="445198" y="57150"/>
                    <a:pt x="445198" y="168212"/>
                  </a:cubicBezTo>
                  <a:cubicBezTo>
                    <a:pt x="445198" y="317754"/>
                    <a:pt x="273748" y="337661"/>
                    <a:pt x="56960" y="371189"/>
                  </a:cubicBezTo>
                  <a:lnTo>
                    <a:pt x="445198" y="371189"/>
                  </a:lnTo>
                  <a:lnTo>
                    <a:pt x="445198" y="493967"/>
                  </a:lnTo>
                  <a:lnTo>
                    <a:pt x="6953" y="493967"/>
                  </a:lnTo>
                  <a:lnTo>
                    <a:pt x="6953" y="259366"/>
                  </a:lnTo>
                  <a:cubicBezTo>
                    <a:pt x="188690" y="245650"/>
                    <a:pt x="305943" y="222314"/>
                    <a:pt x="305943" y="165354"/>
                  </a:cubicBezTo>
                  <a:cubicBezTo>
                    <a:pt x="305943" y="150305"/>
                    <a:pt x="296990" y="122111"/>
                    <a:pt x="234601" y="122111"/>
                  </a:cubicBezTo>
                  <a:cubicBezTo>
                    <a:pt x="161163" y="122111"/>
                    <a:pt x="139256" y="159163"/>
                    <a:pt x="139256" y="224981"/>
                  </a:cubicBezTo>
                  <a:lnTo>
                    <a:pt x="0" y="224981"/>
                  </a:lnTo>
                  <a:cubicBezTo>
                    <a:pt x="0" y="66580"/>
                    <a:pt x="104299" y="0"/>
                    <a:pt x="237268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8C3EC9A-5280-D237-C994-C64D42813FE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5282" y="3407553"/>
              <a:ext cx="215997" cy="235194"/>
            </a:xfrm>
            <a:custGeom>
              <a:avLst/>
              <a:gdLst>
                <a:gd name="connsiteX0" fmla="*/ 234696 w 463010"/>
                <a:gd name="connsiteY0" fmla="*/ 381381 h 504158"/>
                <a:gd name="connsiteX1" fmla="*/ 323850 w 463010"/>
                <a:gd name="connsiteY1" fmla="*/ 342329 h 504158"/>
                <a:gd name="connsiteX2" fmla="*/ 272415 w 463010"/>
                <a:gd name="connsiteY2" fmla="*/ 304610 h 504158"/>
                <a:gd name="connsiteX3" fmla="*/ 205168 w 463010"/>
                <a:gd name="connsiteY3" fmla="*/ 304610 h 504158"/>
                <a:gd name="connsiteX4" fmla="*/ 205168 w 463010"/>
                <a:gd name="connsiteY4" fmla="*/ 192119 h 504158"/>
                <a:gd name="connsiteX5" fmla="*/ 272415 w 463010"/>
                <a:gd name="connsiteY5" fmla="*/ 192119 h 504158"/>
                <a:gd name="connsiteX6" fmla="*/ 316992 w 463010"/>
                <a:gd name="connsiteY6" fmla="*/ 161925 h 504158"/>
                <a:gd name="connsiteX7" fmla="*/ 230600 w 463010"/>
                <a:gd name="connsiteY7" fmla="*/ 122111 h 504158"/>
                <a:gd name="connsiteX8" fmla="*/ 146209 w 463010"/>
                <a:gd name="connsiteY8" fmla="*/ 176975 h 504158"/>
                <a:gd name="connsiteX9" fmla="*/ 6953 w 463010"/>
                <a:gd name="connsiteY9" fmla="*/ 176975 h 504158"/>
                <a:gd name="connsiteX10" fmla="*/ 240792 w 463010"/>
                <a:gd name="connsiteY10" fmla="*/ 0 h 504158"/>
                <a:gd name="connsiteX11" fmla="*/ 456152 w 463010"/>
                <a:gd name="connsiteY11" fmla="*/ 133064 h 504158"/>
                <a:gd name="connsiteX12" fmla="*/ 366998 w 463010"/>
                <a:gd name="connsiteY12" fmla="*/ 246888 h 504158"/>
                <a:gd name="connsiteX13" fmla="*/ 463010 w 463010"/>
                <a:gd name="connsiteY13" fmla="*/ 358712 h 504158"/>
                <a:gd name="connsiteX14" fmla="*/ 241459 w 463010"/>
                <a:gd name="connsiteY14" fmla="*/ 504158 h 504158"/>
                <a:gd name="connsiteX15" fmla="*/ 0 w 463010"/>
                <a:gd name="connsiteY15" fmla="*/ 309372 h 504158"/>
                <a:gd name="connsiteX16" fmla="*/ 139255 w 463010"/>
                <a:gd name="connsiteY16" fmla="*/ 309372 h 504158"/>
                <a:gd name="connsiteX17" fmla="*/ 234601 w 463010"/>
                <a:gd name="connsiteY17" fmla="*/ 381381 h 50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3010" h="504158">
                  <a:moveTo>
                    <a:pt x="234696" y="381381"/>
                  </a:moveTo>
                  <a:cubicBezTo>
                    <a:pt x="291655" y="381381"/>
                    <a:pt x="323850" y="373856"/>
                    <a:pt x="323850" y="342329"/>
                  </a:cubicBezTo>
                  <a:cubicBezTo>
                    <a:pt x="323850" y="319659"/>
                    <a:pt x="303943" y="304610"/>
                    <a:pt x="272415" y="304610"/>
                  </a:cubicBezTo>
                  <a:lnTo>
                    <a:pt x="205168" y="304610"/>
                  </a:lnTo>
                  <a:lnTo>
                    <a:pt x="205168" y="192119"/>
                  </a:lnTo>
                  <a:lnTo>
                    <a:pt x="272415" y="192119"/>
                  </a:lnTo>
                  <a:cubicBezTo>
                    <a:pt x="303943" y="192119"/>
                    <a:pt x="316992" y="181166"/>
                    <a:pt x="316992" y="161925"/>
                  </a:cubicBezTo>
                  <a:cubicBezTo>
                    <a:pt x="316992" y="134493"/>
                    <a:pt x="293656" y="122111"/>
                    <a:pt x="230600" y="122111"/>
                  </a:cubicBezTo>
                  <a:cubicBezTo>
                    <a:pt x="167545" y="122111"/>
                    <a:pt x="146209" y="133064"/>
                    <a:pt x="146209" y="176975"/>
                  </a:cubicBezTo>
                  <a:lnTo>
                    <a:pt x="6953" y="176975"/>
                  </a:lnTo>
                  <a:cubicBezTo>
                    <a:pt x="6953" y="39815"/>
                    <a:pt x="117348" y="0"/>
                    <a:pt x="240792" y="0"/>
                  </a:cubicBezTo>
                  <a:cubicBezTo>
                    <a:pt x="356044" y="0"/>
                    <a:pt x="456152" y="34290"/>
                    <a:pt x="456152" y="133064"/>
                  </a:cubicBezTo>
                  <a:cubicBezTo>
                    <a:pt x="456152" y="200311"/>
                    <a:pt x="407480" y="235268"/>
                    <a:pt x="366998" y="246888"/>
                  </a:cubicBezTo>
                  <a:cubicBezTo>
                    <a:pt x="399955" y="252413"/>
                    <a:pt x="463010" y="274987"/>
                    <a:pt x="463010" y="358712"/>
                  </a:cubicBezTo>
                  <a:cubicBezTo>
                    <a:pt x="463010" y="470535"/>
                    <a:pt x="356044" y="504158"/>
                    <a:pt x="241459" y="504158"/>
                  </a:cubicBezTo>
                  <a:cubicBezTo>
                    <a:pt x="117348" y="504158"/>
                    <a:pt x="0" y="464344"/>
                    <a:pt x="0" y="309372"/>
                  </a:cubicBezTo>
                  <a:lnTo>
                    <a:pt x="139255" y="309372"/>
                  </a:lnTo>
                  <a:cubicBezTo>
                    <a:pt x="139255" y="372428"/>
                    <a:pt x="170783" y="381381"/>
                    <a:pt x="234601" y="38138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3AAC8C-7844-CA8C-CB20-48BC695B84D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51236" y="4652198"/>
              <a:ext cx="204088" cy="225550"/>
            </a:xfrm>
            <a:custGeom>
              <a:avLst/>
              <a:gdLst>
                <a:gd name="connsiteX0" fmla="*/ 388810 w 437483"/>
                <a:gd name="connsiteY0" fmla="*/ 217361 h 483488"/>
                <a:gd name="connsiteX1" fmla="*/ 388810 w 437483"/>
                <a:gd name="connsiteY1" fmla="*/ 296894 h 483488"/>
                <a:gd name="connsiteX2" fmla="*/ 437483 w 437483"/>
                <a:gd name="connsiteY2" fmla="*/ 296894 h 483488"/>
                <a:gd name="connsiteX3" fmla="*/ 437483 w 437483"/>
                <a:gd name="connsiteY3" fmla="*/ 412147 h 483488"/>
                <a:gd name="connsiteX4" fmla="*/ 388810 w 437483"/>
                <a:gd name="connsiteY4" fmla="*/ 412147 h 483488"/>
                <a:gd name="connsiteX5" fmla="*/ 388810 w 437483"/>
                <a:gd name="connsiteY5" fmla="*/ 483489 h 483488"/>
                <a:gd name="connsiteX6" fmla="*/ 257175 w 437483"/>
                <a:gd name="connsiteY6" fmla="*/ 483489 h 483488"/>
                <a:gd name="connsiteX7" fmla="*/ 257175 w 437483"/>
                <a:gd name="connsiteY7" fmla="*/ 412147 h 483488"/>
                <a:gd name="connsiteX8" fmla="*/ 0 w 437483"/>
                <a:gd name="connsiteY8" fmla="*/ 412147 h 483488"/>
                <a:gd name="connsiteX9" fmla="*/ 0 w 437483"/>
                <a:gd name="connsiteY9" fmla="*/ 182404 h 483488"/>
                <a:gd name="connsiteX10" fmla="*/ 192024 w 437483"/>
                <a:gd name="connsiteY10" fmla="*/ 0 h 483488"/>
                <a:gd name="connsiteX11" fmla="*/ 323755 w 437483"/>
                <a:gd name="connsiteY11" fmla="*/ 0 h 483488"/>
                <a:gd name="connsiteX12" fmla="*/ 50768 w 437483"/>
                <a:gd name="connsiteY12" fmla="*/ 296990 h 483488"/>
                <a:gd name="connsiteX13" fmla="*/ 257175 w 437483"/>
                <a:gd name="connsiteY13" fmla="*/ 296990 h 483488"/>
                <a:gd name="connsiteX14" fmla="*/ 257175 w 437483"/>
                <a:gd name="connsiteY14" fmla="*/ 217456 h 483488"/>
                <a:gd name="connsiteX15" fmla="*/ 388810 w 437483"/>
                <a:gd name="connsiteY15" fmla="*/ 217456 h 48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483" h="483488">
                  <a:moveTo>
                    <a:pt x="388810" y="217361"/>
                  </a:moveTo>
                  <a:lnTo>
                    <a:pt x="388810" y="296894"/>
                  </a:lnTo>
                  <a:lnTo>
                    <a:pt x="437483" y="296894"/>
                  </a:lnTo>
                  <a:lnTo>
                    <a:pt x="437483" y="412147"/>
                  </a:lnTo>
                  <a:lnTo>
                    <a:pt x="388810" y="412147"/>
                  </a:lnTo>
                  <a:lnTo>
                    <a:pt x="388810" y="483489"/>
                  </a:lnTo>
                  <a:lnTo>
                    <a:pt x="257175" y="483489"/>
                  </a:lnTo>
                  <a:lnTo>
                    <a:pt x="257175" y="412147"/>
                  </a:lnTo>
                  <a:lnTo>
                    <a:pt x="0" y="412147"/>
                  </a:lnTo>
                  <a:lnTo>
                    <a:pt x="0" y="182404"/>
                  </a:lnTo>
                  <a:cubicBezTo>
                    <a:pt x="121444" y="176213"/>
                    <a:pt x="186595" y="113824"/>
                    <a:pt x="192024" y="0"/>
                  </a:cubicBezTo>
                  <a:lnTo>
                    <a:pt x="323755" y="0"/>
                  </a:lnTo>
                  <a:cubicBezTo>
                    <a:pt x="320326" y="168688"/>
                    <a:pt x="218789" y="270224"/>
                    <a:pt x="50768" y="296990"/>
                  </a:cubicBezTo>
                  <a:lnTo>
                    <a:pt x="257175" y="296990"/>
                  </a:lnTo>
                  <a:lnTo>
                    <a:pt x="257175" y="217456"/>
                  </a:lnTo>
                  <a:lnTo>
                    <a:pt x="388810" y="2174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BC21379-EE08-8FC8-8EC2-73317345D0B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46592" y="5887199"/>
              <a:ext cx="213376" cy="230395"/>
            </a:xfrm>
            <a:custGeom>
              <a:avLst/>
              <a:gdLst>
                <a:gd name="connsiteX0" fmla="*/ 0 w 457390"/>
                <a:gd name="connsiteY0" fmla="*/ 310610 h 493871"/>
                <a:gd name="connsiteX1" fmla="*/ 131731 w 457390"/>
                <a:gd name="connsiteY1" fmla="*/ 310610 h 493871"/>
                <a:gd name="connsiteX2" fmla="*/ 235268 w 457390"/>
                <a:gd name="connsiteY2" fmla="*/ 378524 h 493871"/>
                <a:gd name="connsiteX3" fmla="*/ 326517 w 457390"/>
                <a:gd name="connsiteY3" fmla="*/ 313373 h 493871"/>
                <a:gd name="connsiteX4" fmla="*/ 232505 w 457390"/>
                <a:gd name="connsiteY4" fmla="*/ 250317 h 493871"/>
                <a:gd name="connsiteX5" fmla="*/ 138494 w 457390"/>
                <a:gd name="connsiteY5" fmla="*/ 290798 h 493871"/>
                <a:gd name="connsiteX6" fmla="*/ 6096 w 457390"/>
                <a:gd name="connsiteY6" fmla="*/ 221552 h 493871"/>
                <a:gd name="connsiteX7" fmla="*/ 54769 w 457390"/>
                <a:gd name="connsiteY7" fmla="*/ 0 h 493871"/>
                <a:gd name="connsiteX8" fmla="*/ 417576 w 457390"/>
                <a:gd name="connsiteY8" fmla="*/ 0 h 493871"/>
                <a:gd name="connsiteX9" fmla="*/ 417576 w 457390"/>
                <a:gd name="connsiteY9" fmla="*/ 115252 h 493871"/>
                <a:gd name="connsiteX10" fmla="*/ 163830 w 457390"/>
                <a:gd name="connsiteY10" fmla="*/ 115252 h 493871"/>
                <a:gd name="connsiteX11" fmla="*/ 133636 w 457390"/>
                <a:gd name="connsiteY11" fmla="*/ 232505 h 493871"/>
                <a:gd name="connsiteX12" fmla="*/ 290036 w 457390"/>
                <a:gd name="connsiteY12" fmla="*/ 142018 h 493871"/>
                <a:gd name="connsiteX13" fmla="*/ 457390 w 457390"/>
                <a:gd name="connsiteY13" fmla="*/ 305276 h 493871"/>
                <a:gd name="connsiteX14" fmla="*/ 233839 w 457390"/>
                <a:gd name="connsiteY14" fmla="*/ 493871 h 493871"/>
                <a:gd name="connsiteX15" fmla="*/ 0 w 457390"/>
                <a:gd name="connsiteY15" fmla="*/ 310706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390" h="493871">
                  <a:moveTo>
                    <a:pt x="0" y="310610"/>
                  </a:moveTo>
                  <a:lnTo>
                    <a:pt x="131731" y="310610"/>
                  </a:lnTo>
                  <a:cubicBezTo>
                    <a:pt x="131731" y="355187"/>
                    <a:pt x="167354" y="378524"/>
                    <a:pt x="235268" y="378524"/>
                  </a:cubicBezTo>
                  <a:cubicBezTo>
                    <a:pt x="303181" y="378524"/>
                    <a:pt x="326517" y="354521"/>
                    <a:pt x="326517" y="313373"/>
                  </a:cubicBezTo>
                  <a:cubicBezTo>
                    <a:pt x="326517" y="263271"/>
                    <a:pt x="281273" y="250317"/>
                    <a:pt x="232505" y="250317"/>
                  </a:cubicBezTo>
                  <a:cubicBezTo>
                    <a:pt x="188595" y="250317"/>
                    <a:pt x="157067" y="259271"/>
                    <a:pt x="138494" y="290798"/>
                  </a:cubicBezTo>
                  <a:lnTo>
                    <a:pt x="6096" y="221552"/>
                  </a:lnTo>
                  <a:lnTo>
                    <a:pt x="54769" y="0"/>
                  </a:lnTo>
                  <a:lnTo>
                    <a:pt x="417576" y="0"/>
                  </a:lnTo>
                  <a:lnTo>
                    <a:pt x="417576" y="115252"/>
                  </a:lnTo>
                  <a:lnTo>
                    <a:pt x="163830" y="115252"/>
                  </a:lnTo>
                  <a:lnTo>
                    <a:pt x="133636" y="232505"/>
                  </a:lnTo>
                  <a:cubicBezTo>
                    <a:pt x="161735" y="170117"/>
                    <a:pt x="217361" y="142018"/>
                    <a:pt x="290036" y="142018"/>
                  </a:cubicBezTo>
                  <a:cubicBezTo>
                    <a:pt x="382619" y="142018"/>
                    <a:pt x="457390" y="190024"/>
                    <a:pt x="457390" y="305276"/>
                  </a:cubicBezTo>
                  <a:cubicBezTo>
                    <a:pt x="457390" y="433578"/>
                    <a:pt x="369570" y="493871"/>
                    <a:pt x="233839" y="493871"/>
                  </a:cubicBezTo>
                  <a:cubicBezTo>
                    <a:pt x="111728" y="493871"/>
                    <a:pt x="0" y="446532"/>
                    <a:pt x="0" y="31070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3" name="Graphic 52">
            <a:extLst>
              <a:ext uri="{FF2B5EF4-FFF2-40B4-BE49-F238E27FC236}">
                <a16:creationId xmlns:a16="http://schemas.microsoft.com/office/drawing/2014/main" id="{135197C4-9D5D-BA5C-83E8-C17872A6FC8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7672" y="9602708"/>
            <a:ext cx="2100555" cy="407993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13281B4B-F158-DBB7-0C5C-1D46047A3A40}"/>
              </a:ext>
            </a:extLst>
          </p:cNvPr>
          <p:cNvSpPr txBox="1"/>
          <p:nvPr userDrawn="1"/>
        </p:nvSpPr>
        <p:spPr>
          <a:xfrm>
            <a:off x="5755930" y="8790098"/>
            <a:ext cx="40588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i="1" dirty="0">
                <a:solidFill>
                  <a:schemeClr val="accent2"/>
                </a:solidFill>
              </a:rPr>
              <a:t>BENEFICIARIA DE LA BECA DE LEGADO INDÍGENA DE TC ENERGÍA</a:t>
            </a:r>
          </a:p>
        </p:txBody>
      </p:sp>
      <p:pic>
        <p:nvPicPr>
          <p:cNvPr id="75" name="Graphic 74">
            <a:extLst>
              <a:ext uri="{FF2B5EF4-FFF2-40B4-BE49-F238E27FC236}">
                <a16:creationId xmlns:a16="http://schemas.microsoft.com/office/drawing/2014/main" id="{31A5C1C1-CFF3-9C0C-658F-784CEA22500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7095" y="8880441"/>
            <a:ext cx="375124" cy="52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320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1340" y="2382"/>
          <a:ext cx="13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40" y="2382"/>
                        <a:ext cx="13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231" y="1021556"/>
            <a:ext cx="8872538" cy="85537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7231" y="2159253"/>
            <a:ext cx="8872538" cy="710619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7231" y="9534526"/>
            <a:ext cx="2314575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fld id="{084B539E-C0E5-4FEB-BAA8-35E3F6BECA31}" type="datetime4">
              <a:rPr lang="en-US" smtClean="0"/>
              <a:t>June 29, 20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7231" y="339329"/>
            <a:ext cx="8872537" cy="547688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500" b="1" cap="all" spc="45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6766" y="9547774"/>
            <a:ext cx="438071" cy="5476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500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4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</p:sldLayoutIdLst>
  <p:hf sldNum="0" hdr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274320" indent="-27432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</a:buBlip>
        <a:defRPr sz="2400" kern="1200">
          <a:solidFill>
            <a:srgbClr val="191919"/>
          </a:solidFill>
          <a:latin typeface="+mj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rgbClr val="191919"/>
          </a:solidFill>
          <a:latin typeface="+mj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51700-133E-4DA4-A9BA-8C03001D1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18989"/>
              </p:ext>
            </p:extLst>
          </p:nvPr>
        </p:nvGraphicFramePr>
        <p:xfrm>
          <a:off x="-3998118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3998118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E96271-0AD8-1EC8-DB65-0954318D601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2DE4CB-8B66-F643-6C85-1605F97BCB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C710E4-4051-4BA2-DA1F-5411196E32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45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8E6A5AC-9754-959D-97A1-16AF45569D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40C922-25F7-246E-D5BB-9F48FAF7E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3998118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51700-133E-4DA4-A9BA-8C03001D1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3998118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E3D611D-519E-F985-B882-513D05F510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D395B7-8B36-A76C-EE1D-D22DA6357E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632E62-8D85-749E-29E6-F1654235E7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795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E Presentation Toolkit v4.2 EN.pptx" id="{2F3FABDE-14CB-4FF2-9A4A-9A258A957D62}" vid="{289B124B-628E-4FB8-8F5E-37985A3733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0fb96a43-4e79-4be8-801e-60f2bd1854bb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CF833F9DF84142A7EB23D28FCA4F60" ma:contentTypeVersion="13" ma:contentTypeDescription="Create a new document." ma:contentTypeScope="" ma:versionID="e48b3e7b8f34bf1f12ec6dc05b542a11">
  <xsd:schema xmlns:xsd="http://www.w3.org/2001/XMLSchema" xmlns:xs="http://www.w3.org/2001/XMLSchema" xmlns:p="http://schemas.microsoft.com/office/2006/metadata/properties" xmlns:ns2="b92c2624-9a52-45a9-a803-b3a7f79e404b" xmlns:ns3="63a3d63c-3188-4f64-b2eb-5fdd8d99ed82" targetNamespace="http://schemas.microsoft.com/office/2006/metadata/properties" ma:root="true" ma:fieldsID="949c134264d6ce6264d6a2c5b6b5499a" ns2:_="" ns3:_="">
    <xsd:import namespace="b92c2624-9a52-45a9-a803-b3a7f79e404b"/>
    <xsd:import namespace="63a3d63c-3188-4f64-b2eb-5fdd8d99ed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2c2624-9a52-45a9-a803-b3a7f79e40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f32e807-ea1f-4701-a6e0-24972aca76e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3d63c-3188-4f64-b2eb-5fdd8d99ed8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f314c25-9048-4cf0-a14f-f4d9a84095c7}" ma:internalName="TaxCatchAll" ma:showField="CatchAllData" ma:web="63a3d63c-3188-4f64-b2eb-5fdd8d99ed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2c2624-9a52-45a9-a803-b3a7f79e404b">
      <Terms xmlns="http://schemas.microsoft.com/office/infopath/2007/PartnerControls"/>
    </lcf76f155ced4ddcb4097134ff3c332f>
    <TaxCatchAll xmlns="63a3d63c-3188-4f64-b2eb-5fdd8d99ed8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F54634-70EB-4DF8-98B8-B4745C311236}"/>
</file>

<file path=customXml/itemProps2.xml><?xml version="1.0" encoding="utf-8"?>
<ds:datastoreItem xmlns:ds="http://schemas.openxmlformats.org/officeDocument/2006/customXml" ds:itemID="{5EFC1B35-51D3-4FDA-9119-4285277BF920}">
  <ds:schemaRefs>
    <ds:schemaRef ds:uri="0be2b4af-3aa2-4f68-922f-84e310d8c846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f7b7158-da0a-41d9-b5a4-951805a8184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E Presentation Toolkit v4.2 EN</Template>
  <TotalTime>705</TotalTime>
  <Words>286</Words>
  <Application>Microsoft Office PowerPoint</Application>
  <PresentationFormat>Custom</PresentationFormat>
  <Paragraphs>1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ain Dupuis</dc:creator>
  <cp:lastModifiedBy>Alain Dupuis</cp:lastModifiedBy>
  <cp:revision>84</cp:revision>
  <dcterms:created xsi:type="dcterms:W3CDTF">2026-05-20T21:46:16Z</dcterms:created>
  <dcterms:modified xsi:type="dcterms:W3CDTF">2026-06-29T15:3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CF833F9DF84142A7EB23D28FCA4F60</vt:lpwstr>
  </property>
  <property fmtid="{D5CDD505-2E9C-101B-9397-08002B2CF9AE}" pid="3" name="MediaServiceImageTags">
    <vt:lpwstr/>
  </property>
</Properties>
</file>